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7"/>
  </p:notes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79" r:id="rId24"/>
    <p:sldId id="280" r:id="rId25"/>
    <p:sldId id="281" r:id="rId26"/>
    <p:sldId id="282" r:id="rId27"/>
    <p:sldId id="283" r:id="rId28"/>
    <p:sldId id="284" r:id="rId29"/>
    <p:sldId id="285" r:id="rId30"/>
    <p:sldId id="286" r:id="rId31"/>
    <p:sldId id="287" r:id="rId32"/>
    <p:sldId id="288" r:id="rId33"/>
    <p:sldId id="289" r:id="rId34"/>
    <p:sldId id="290" r:id="rId35"/>
    <p:sldId id="291" r:id="rId36"/>
    <p:sldId id="292" r:id="rId37"/>
    <p:sldId id="293" r:id="rId38"/>
    <p:sldId id="294" r:id="rId39"/>
    <p:sldId id="295" r:id="rId40"/>
    <p:sldId id="296" r:id="rId41"/>
    <p:sldId id="297" r:id="rId42"/>
    <p:sldId id="298" r:id="rId43"/>
    <p:sldId id="299" r:id="rId44"/>
    <p:sldId id="300" r:id="rId45"/>
    <p:sldId id="301" r:id="rId46"/>
    <p:sldId id="312" r:id="rId47"/>
    <p:sldId id="313" r:id="rId48"/>
    <p:sldId id="314" r:id="rId49"/>
    <p:sldId id="315" r:id="rId50"/>
    <p:sldId id="316" r:id="rId51"/>
    <p:sldId id="317" r:id="rId52"/>
    <p:sldId id="318" r:id="rId53"/>
    <p:sldId id="319" r:id="rId54"/>
    <p:sldId id="320" r:id="rId55"/>
    <p:sldId id="321" r:id="rId5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-516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607174103237096E-2"/>
          <c:y val="2.7212315949295577E-2"/>
          <c:w val="0.88337270341207352"/>
          <c:h val="0.77457104857408521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multiLvlStrRef>
              <c:f>Sheet3!$C$2:$N$3</c:f>
              <c:multiLvlStrCache>
                <c:ptCount val="12"/>
                <c:lvl>
                  <c:pt idx="0">
                    <c:v>FEMALE</c:v>
                  </c:pt>
                  <c:pt idx="1">
                    <c:v>MALE  </c:v>
                  </c:pt>
                  <c:pt idx="2">
                    <c:v>TOTAL</c:v>
                  </c:pt>
                  <c:pt idx="3">
                    <c:v>FEMALE</c:v>
                  </c:pt>
                  <c:pt idx="4">
                    <c:v>MALE  </c:v>
                  </c:pt>
                  <c:pt idx="5">
                    <c:v>TOTAL</c:v>
                  </c:pt>
                  <c:pt idx="6">
                    <c:v>FEMALE</c:v>
                  </c:pt>
                  <c:pt idx="7">
                    <c:v>MALE  </c:v>
                  </c:pt>
                  <c:pt idx="8">
                    <c:v>TOTAL</c:v>
                  </c:pt>
                  <c:pt idx="9">
                    <c:v>FEMALE</c:v>
                  </c:pt>
                  <c:pt idx="10">
                    <c:v>MALE  </c:v>
                  </c:pt>
                  <c:pt idx="11">
                    <c:v>TOTAL</c:v>
                  </c:pt>
                </c:lvl>
                <c:lvl>
                  <c:pt idx="0">
                    <c:v>AFRICAN </c:v>
                  </c:pt>
                  <c:pt idx="3">
                    <c:v>COLOURED</c:v>
                  </c:pt>
                  <c:pt idx="6">
                    <c:v>INDIAN  </c:v>
                  </c:pt>
                  <c:pt idx="9">
                    <c:v>WHITE   </c:v>
                  </c:pt>
                </c:lvl>
              </c:multiLvlStrCache>
            </c:multiLvlStrRef>
          </c:cat>
          <c:val>
            <c:numRef>
              <c:f>Sheet3!$C$4:$N$4</c:f>
              <c:numCache>
                <c:formatCode>General</c:formatCode>
                <c:ptCount val="12"/>
                <c:pt idx="0">
                  <c:v>190</c:v>
                </c:pt>
                <c:pt idx="1">
                  <c:v>114</c:v>
                </c:pt>
                <c:pt idx="2">
                  <c:v>304</c:v>
                </c:pt>
                <c:pt idx="3">
                  <c:v>108</c:v>
                </c:pt>
                <c:pt idx="4">
                  <c:v>80</c:v>
                </c:pt>
                <c:pt idx="5">
                  <c:v>188</c:v>
                </c:pt>
                <c:pt idx="6">
                  <c:v>3</c:v>
                </c:pt>
                <c:pt idx="7">
                  <c:v>2</c:v>
                </c:pt>
                <c:pt idx="8">
                  <c:v>5</c:v>
                </c:pt>
                <c:pt idx="9">
                  <c:v>38</c:v>
                </c:pt>
                <c:pt idx="10">
                  <c:v>9</c:v>
                </c:pt>
                <c:pt idx="11">
                  <c:v>47</c:v>
                </c:pt>
              </c:numCache>
            </c:numRef>
          </c:val>
        </c:ser>
        <c:ser>
          <c:idx val="1"/>
          <c:order val="1"/>
          <c:invertIfNegative val="0"/>
          <c:cat>
            <c:multiLvlStrRef>
              <c:f>Sheet3!$C$2:$N$3</c:f>
              <c:multiLvlStrCache>
                <c:ptCount val="12"/>
                <c:lvl>
                  <c:pt idx="0">
                    <c:v>FEMALE</c:v>
                  </c:pt>
                  <c:pt idx="1">
                    <c:v>MALE  </c:v>
                  </c:pt>
                  <c:pt idx="2">
                    <c:v>TOTAL</c:v>
                  </c:pt>
                  <c:pt idx="3">
                    <c:v>FEMALE</c:v>
                  </c:pt>
                  <c:pt idx="4">
                    <c:v>MALE  </c:v>
                  </c:pt>
                  <c:pt idx="5">
                    <c:v>TOTAL</c:v>
                  </c:pt>
                  <c:pt idx="6">
                    <c:v>FEMALE</c:v>
                  </c:pt>
                  <c:pt idx="7">
                    <c:v>MALE  </c:v>
                  </c:pt>
                  <c:pt idx="8">
                    <c:v>TOTAL</c:v>
                  </c:pt>
                  <c:pt idx="9">
                    <c:v>FEMALE</c:v>
                  </c:pt>
                  <c:pt idx="10">
                    <c:v>MALE  </c:v>
                  </c:pt>
                  <c:pt idx="11">
                    <c:v>TOTAL</c:v>
                  </c:pt>
                </c:lvl>
                <c:lvl>
                  <c:pt idx="0">
                    <c:v>AFRICAN </c:v>
                  </c:pt>
                  <c:pt idx="3">
                    <c:v>COLOURED</c:v>
                  </c:pt>
                  <c:pt idx="6">
                    <c:v>INDIAN  </c:v>
                  </c:pt>
                  <c:pt idx="9">
                    <c:v>WHITE   </c:v>
                  </c:pt>
                </c:lvl>
              </c:multiLvlStrCache>
            </c:multiLvlStrRef>
          </c:cat>
          <c:val>
            <c:numRef>
              <c:f>Sheet3!$C$5:$N$5</c:f>
              <c:numCache>
                <c:formatCode>0.0%</c:formatCode>
                <c:ptCount val="12"/>
                <c:pt idx="0">
                  <c:v>0.161</c:v>
                </c:pt>
                <c:pt idx="1">
                  <c:v>0.19900000000000001</c:v>
                </c:pt>
                <c:pt idx="3">
                  <c:v>0.22500000000000001</c:v>
                </c:pt>
                <c:pt idx="4">
                  <c:v>0.26200000000000001</c:v>
                </c:pt>
                <c:pt idx="6">
                  <c:v>1E-3</c:v>
                </c:pt>
                <c:pt idx="7">
                  <c:v>4.0000000000000001E-3</c:v>
                </c:pt>
                <c:pt idx="9">
                  <c:v>6.6000000000000003E-2</c:v>
                </c:pt>
                <c:pt idx="10">
                  <c:v>8.2000000000000003E-2</c:v>
                </c:pt>
              </c:numCache>
            </c:numRef>
          </c:val>
        </c:ser>
        <c:ser>
          <c:idx val="2"/>
          <c:order val="2"/>
          <c:invertIfNegative val="0"/>
          <c:cat>
            <c:multiLvlStrRef>
              <c:f>Sheet3!$C$2:$N$3</c:f>
              <c:multiLvlStrCache>
                <c:ptCount val="12"/>
                <c:lvl>
                  <c:pt idx="0">
                    <c:v>FEMALE</c:v>
                  </c:pt>
                  <c:pt idx="1">
                    <c:v>MALE  </c:v>
                  </c:pt>
                  <c:pt idx="2">
                    <c:v>TOTAL</c:v>
                  </c:pt>
                  <c:pt idx="3">
                    <c:v>FEMALE</c:v>
                  </c:pt>
                  <c:pt idx="4">
                    <c:v>MALE  </c:v>
                  </c:pt>
                  <c:pt idx="5">
                    <c:v>TOTAL</c:v>
                  </c:pt>
                  <c:pt idx="6">
                    <c:v>FEMALE</c:v>
                  </c:pt>
                  <c:pt idx="7">
                    <c:v>MALE  </c:v>
                  </c:pt>
                  <c:pt idx="8">
                    <c:v>TOTAL</c:v>
                  </c:pt>
                  <c:pt idx="9">
                    <c:v>FEMALE</c:v>
                  </c:pt>
                  <c:pt idx="10">
                    <c:v>MALE  </c:v>
                  </c:pt>
                  <c:pt idx="11">
                    <c:v>TOTAL</c:v>
                  </c:pt>
                </c:lvl>
                <c:lvl>
                  <c:pt idx="0">
                    <c:v>AFRICAN </c:v>
                  </c:pt>
                  <c:pt idx="3">
                    <c:v>COLOURED</c:v>
                  </c:pt>
                  <c:pt idx="6">
                    <c:v>INDIAN  </c:v>
                  </c:pt>
                  <c:pt idx="9">
                    <c:v>WHITE   </c:v>
                  </c:pt>
                </c:lvl>
              </c:multiLvlStrCache>
            </c:multiLvlStrRef>
          </c:cat>
          <c:val>
            <c:numRef>
              <c:f>Sheet3!$C$6:$N$6</c:f>
              <c:numCache>
                <c:formatCode>0.0</c:formatCode>
                <c:ptCount val="12"/>
                <c:pt idx="0">
                  <c:v>34.92647058823529</c:v>
                </c:pt>
                <c:pt idx="1">
                  <c:v>20.955882352941178</c:v>
                </c:pt>
                <c:pt idx="3">
                  <c:v>19.852941176470587</c:v>
                </c:pt>
                <c:pt idx="4">
                  <c:v>14.705882352941178</c:v>
                </c:pt>
                <c:pt idx="6">
                  <c:v>0.55147058823529416</c:v>
                </c:pt>
                <c:pt idx="7">
                  <c:v>0.36764705882352938</c:v>
                </c:pt>
                <c:pt idx="9">
                  <c:v>6.9852941176470589</c:v>
                </c:pt>
                <c:pt idx="10">
                  <c:v>1.65441176470588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9200128"/>
        <c:axId val="201127040"/>
      </c:barChart>
      <c:catAx>
        <c:axId val="199200128"/>
        <c:scaling>
          <c:orientation val="minMax"/>
        </c:scaling>
        <c:delete val="0"/>
        <c:axPos val="b"/>
        <c:majorTickMark val="out"/>
        <c:minorTickMark val="none"/>
        <c:tickLblPos val="nextTo"/>
        <c:crossAx val="201127040"/>
        <c:crosses val="autoZero"/>
        <c:auto val="1"/>
        <c:lblAlgn val="ctr"/>
        <c:lblOffset val="100"/>
        <c:noMultiLvlLbl val="0"/>
      </c:catAx>
      <c:valAx>
        <c:axId val="20112704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9920012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39B24F-BC72-4F95-9742-FC9FB6EAB78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253B00-B380-4E61-BEC0-9DB1092424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9185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 txBox="1">
            <a:spLocks noGrp="1" noChangeArrowheads="1"/>
          </p:cNvSpPr>
          <p:nvPr/>
        </p:nvSpPr>
        <p:spPr bwMode="auto">
          <a:xfrm>
            <a:off x="3885580" y="8684926"/>
            <a:ext cx="2970869" cy="45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272" tIns="48636" rIns="97272" bIns="48636" anchor="b"/>
          <a:lstStyle>
            <a:lvl1pPr defTabSz="966788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66788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66788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66788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66788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66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16258CA3-6BDD-440C-A598-D6BF414D563D}" type="slidenum">
              <a:rPr lang="en-US" sz="1300"/>
              <a:pPr algn="r" eaLnBrk="1" hangingPunct="1"/>
              <a:t>1</a:t>
            </a:fld>
            <a:endParaRPr lang="en-US" sz="1300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266825" y="773113"/>
            <a:ext cx="4276725" cy="3208337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6264" y="4344025"/>
            <a:ext cx="5025473" cy="411448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7272" tIns="48636" rIns="97272" bIns="48636"/>
          <a:lstStyle/>
          <a:p>
            <a:endParaRPr lang="de-DE" smtClean="0">
              <a:solidFill>
                <a:srgbClr val="000000"/>
              </a:solidFill>
              <a:latin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247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9057" indent="-280406" defTabSz="94247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1626" indent="-224325" defTabSz="94247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70276" indent="-224325" defTabSz="94247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18927" indent="-224325" defTabSz="942478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67577" indent="-224325" defTabSz="9424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16227" indent="-224325" defTabSz="9424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64878" indent="-224325" defTabSz="9424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13528" indent="-224325" defTabSz="94247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F225AA4F-7563-4237-BC3F-B951613D0E22}" type="slidenum">
              <a:rPr lang="en-ZA" sz="1300"/>
              <a:pPr eaLnBrk="1" hangingPunct="1"/>
              <a:t>5</a:t>
            </a:fld>
            <a:endParaRPr lang="en-ZA" sz="1300"/>
          </a:p>
        </p:txBody>
      </p:sp>
      <p:sp>
        <p:nvSpPr>
          <p:cNvPr id="931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31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ZA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 txBox="1">
            <a:spLocks noGrp="1" noChangeArrowheads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25" tIns="44862" rIns="89725" bIns="44862" anchor="b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97CF901B-4B20-433F-817D-57BD782B00B3}" type="slidenum">
              <a:rPr lang="en-US" altLang="en-US" sz="1200"/>
              <a:pPr algn="r" eaLnBrk="1" hangingPunct="1"/>
              <a:t>8</a:t>
            </a:fld>
            <a:endParaRPr lang="en-US" altLang="en-US" sz="120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6977" y="685488"/>
            <a:ext cx="4547152" cy="3429000"/>
          </a:xfrm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421" y="4342465"/>
            <a:ext cx="5485158" cy="411604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25" tIns="44862" rIns="89725" bIns="44862"/>
          <a:lstStyle/>
          <a:p>
            <a:pPr eaLnBrk="1" hangingPunct="1"/>
            <a:endParaRPr lang="en-US" alt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 txBox="1">
            <a:spLocks noGrp="1" noChangeArrowheads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25" tIns="44862" rIns="89725" bIns="44862" anchor="b"/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97CF901B-4B20-433F-817D-57BD782B00B3}" type="slidenum">
              <a:rPr lang="en-US" altLang="en-US" sz="1200"/>
              <a:pPr algn="r" eaLnBrk="1" hangingPunct="1"/>
              <a:t>9</a:t>
            </a:fld>
            <a:endParaRPr lang="en-US" altLang="en-US" sz="1200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6977" y="685488"/>
            <a:ext cx="4547152" cy="3429000"/>
          </a:xfrm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421" y="4342465"/>
            <a:ext cx="5485158" cy="411604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25" tIns="44862" rIns="89725" bIns="44862"/>
          <a:lstStyle/>
          <a:p>
            <a:pPr eaLnBrk="1" hangingPunct="1"/>
            <a:endParaRPr lang="en-US" alt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9057" indent="-280406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1626" indent="-224325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70276" indent="-224325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18927" indent="-224325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67577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16227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64878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13528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40BD5C34-72BA-4A8C-BD37-EEB2DBEAEB15}" type="slidenum">
              <a:rPr lang="en-US" altLang="en-US" sz="1300"/>
              <a:pPr eaLnBrk="1" hangingPunct="1"/>
              <a:t>47</a:t>
            </a:fld>
            <a:endParaRPr lang="en-US" altLang="en-US" sz="13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/>
          </a:p>
        </p:txBody>
      </p:sp>
      <p:sp>
        <p:nvSpPr>
          <p:cNvPr id="133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266" eaLnBrk="0" hangingPunct="0"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marL="729057" indent="-280406" defTabSz="950266" eaLnBrk="0" hangingPunct="0"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marL="1121626" indent="-224325" defTabSz="950266" eaLnBrk="0" hangingPunct="0"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marL="1570276" indent="-224325" defTabSz="950266" eaLnBrk="0" hangingPunct="0"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marL="2018927" indent="-224325" defTabSz="950266" eaLnBrk="0" hangingPunct="0"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467577" indent="-224325" defTabSz="950266" eaLnBrk="0" fontAlgn="base" hangingPunct="0">
              <a:lnSpc>
                <a:spcPct val="90000"/>
              </a:lnSpc>
              <a:spcBef>
                <a:spcPct val="9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916227" indent="-224325" defTabSz="950266" eaLnBrk="0" fontAlgn="base" hangingPunct="0">
              <a:lnSpc>
                <a:spcPct val="90000"/>
              </a:lnSpc>
              <a:spcBef>
                <a:spcPct val="9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364878" indent="-224325" defTabSz="950266" eaLnBrk="0" fontAlgn="base" hangingPunct="0">
              <a:lnSpc>
                <a:spcPct val="90000"/>
              </a:lnSpc>
              <a:spcBef>
                <a:spcPct val="9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813528" indent="-224325" defTabSz="950266" eaLnBrk="0" fontAlgn="base" hangingPunct="0">
              <a:lnSpc>
                <a:spcPct val="90000"/>
              </a:lnSpc>
              <a:spcBef>
                <a:spcPct val="90000"/>
              </a:spcBef>
              <a:spcAft>
                <a:spcPct val="0"/>
              </a:spcAft>
              <a:buClr>
                <a:schemeClr val="bg2"/>
              </a:buClr>
              <a:buFont typeface="Wingdings" pitchFamily="2" charset="2"/>
              <a:defRPr sz="1600"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8DA13EB8-EA4D-462F-A87F-8FC727E4B9CF}" type="slidenum">
              <a:rPr lang="en-US" sz="1300" b="0">
                <a:solidFill>
                  <a:schemeClr val="tx1"/>
                </a:solidFill>
              </a:rPr>
              <a:pPr eaLnBrk="1" hangingPunct="1"/>
              <a:t>48</a:t>
            </a:fld>
            <a:endParaRPr lang="en-US" sz="13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505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en-US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9057" indent="-280406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21626" indent="-224325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70276" indent="-224325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18927" indent="-224325" defTabSz="959613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67577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16227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64878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13528" indent="-224325" defTabSz="9596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6D18D579-8604-415B-A0FB-21D384B39393}" type="slidenum">
              <a:rPr lang="en-US" altLang="en-US" sz="1300"/>
              <a:pPr eaLnBrk="1" hangingPunct="1"/>
              <a:t>52</a:t>
            </a:fld>
            <a:endParaRPr lang="en-US" altLang="en-US" sz="13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EA78B9-EDAE-4728-AF2D-F1E137B31D9D}" type="slidenum">
              <a:rPr lang="en-ZA" smtClean="0"/>
              <a:t>5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23712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1353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529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322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9"/>
          <p:cNvSpPr>
            <a:spLocks noChangeShapeType="1"/>
          </p:cNvSpPr>
          <p:nvPr/>
        </p:nvSpPr>
        <p:spPr bwMode="auto">
          <a:xfrm>
            <a:off x="228600" y="457200"/>
            <a:ext cx="8682038" cy="0"/>
          </a:xfrm>
          <a:prstGeom prst="line">
            <a:avLst/>
          </a:prstGeom>
          <a:noFill/>
          <a:ln w="28575">
            <a:solidFill>
              <a:srgbClr val="7D09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3" name="Rectangle 20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9" descr="home affairs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8025" y="701675"/>
            <a:ext cx="5473700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68818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6063" y="596900"/>
            <a:ext cx="8647112" cy="2746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46063" y="2092325"/>
            <a:ext cx="8647112" cy="2644775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414865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632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9469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726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8329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475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82352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2984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235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E5FA34-BC6E-44D6-8252-A2EC243D18A2}" type="datetimeFigureOut">
              <a:rPr lang="en-US" smtClean="0"/>
              <a:t>8/1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50D474-31E5-4EB2-B2DE-3CFB0385F76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007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jpe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TextBox 1"/>
          <p:cNvSpPr txBox="1">
            <a:spLocks noChangeArrowheads="1"/>
          </p:cNvSpPr>
          <p:nvPr/>
        </p:nvSpPr>
        <p:spPr bwMode="auto">
          <a:xfrm>
            <a:off x="533400" y="2527300"/>
            <a:ext cx="8305799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en-US" sz="2000" b="1" dirty="0" smtClean="0"/>
          </a:p>
          <a:p>
            <a:pPr algn="ctr"/>
            <a:r>
              <a:rPr lang="en-US" sz="2000" b="1" dirty="0" smtClean="0"/>
              <a:t>State of the Western </a:t>
            </a:r>
            <a:r>
              <a:rPr lang="en-US" sz="2000" b="1" dirty="0"/>
              <a:t>Cape </a:t>
            </a:r>
            <a:r>
              <a:rPr lang="en-US" sz="2000" b="1" dirty="0" smtClean="0"/>
              <a:t>Province </a:t>
            </a:r>
          </a:p>
          <a:p>
            <a:pPr algn="ctr"/>
            <a:r>
              <a:rPr lang="en-US" sz="2000" b="1" dirty="0" smtClean="0"/>
              <a:t>As at end June 2017 </a:t>
            </a:r>
          </a:p>
          <a:p>
            <a:pPr algn="ctr"/>
            <a:endParaRPr lang="en-US" sz="2000" b="1" dirty="0"/>
          </a:p>
          <a:p>
            <a:endParaRPr lang="en-US" sz="1200" b="1" dirty="0" smtClean="0"/>
          </a:p>
          <a:p>
            <a:endParaRPr lang="en-US" sz="1200" b="1" dirty="0"/>
          </a:p>
          <a:p>
            <a:endParaRPr lang="en-US" sz="1200" b="1" dirty="0" smtClean="0"/>
          </a:p>
          <a:p>
            <a:r>
              <a:rPr lang="en-US" sz="1200" b="1" dirty="0" smtClean="0"/>
              <a:t>Presented </a:t>
            </a:r>
            <a:r>
              <a:rPr lang="en-US" sz="1200" b="1" dirty="0" smtClean="0"/>
              <a:t>on !5 August 2017 by</a:t>
            </a:r>
            <a:r>
              <a:rPr lang="en-US" sz="1200" b="1" dirty="0" smtClean="0"/>
              <a:t>: Provincial Manager: Yusuf </a:t>
            </a:r>
            <a:r>
              <a:rPr lang="en-US" sz="1200" b="1" dirty="0" smtClean="0"/>
              <a:t>Simons </a:t>
            </a:r>
            <a:endParaRPr lang="en-US" sz="1200" b="1" dirty="0"/>
          </a:p>
        </p:txBody>
      </p:sp>
      <p:pic>
        <p:nvPicPr>
          <p:cNvPr id="5" name="Picture 4" descr="PASSPORT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263" y="2432050"/>
            <a:ext cx="1828799" cy="1757362"/>
          </a:xfrm>
          <a:prstGeom prst="rect">
            <a:avLst/>
          </a:prstGeom>
        </p:spPr>
      </p:pic>
      <p:pic>
        <p:nvPicPr>
          <p:cNvPr id="6" name="Picture 5" descr="cirtifcate2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097589">
            <a:off x="728588" y="4478378"/>
            <a:ext cx="1200151" cy="183832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/>
        </p:spPr>
      </p:pic>
      <p:pic>
        <p:nvPicPr>
          <p:cNvPr id="7" name="Picture 6" descr="ID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5900" y="4774070"/>
            <a:ext cx="3848100" cy="124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2848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4"/>
          <p:cNvSpPr txBox="1">
            <a:spLocks noChangeArrowheads="1"/>
          </p:cNvSpPr>
          <p:nvPr/>
        </p:nvSpPr>
        <p:spPr bwMode="auto">
          <a:xfrm>
            <a:off x="176213" y="324644"/>
            <a:ext cx="8831261" cy="338137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sz="1600" b="1" dirty="0"/>
              <a:t>Footprint expansion over the past 5 years  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3514823"/>
              </p:ext>
            </p:extLst>
          </p:nvPr>
        </p:nvGraphicFramePr>
        <p:xfrm>
          <a:off x="176213" y="831851"/>
          <a:ext cx="8831261" cy="55211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4587"/>
                <a:gridCol w="1181100"/>
                <a:gridCol w="800100"/>
                <a:gridCol w="1054100"/>
                <a:gridCol w="4651374"/>
              </a:tblGrid>
              <a:tr h="55755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istric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Office name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yp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odernized (Yes/No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eason for establishmen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</a:tr>
              <a:tr h="71400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ape Metro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tlanti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Offi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isadvantaged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community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No/poor public transport infrastructure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More than 50km from nearest DHA facilit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727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Overber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Bredasdorp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SC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ural 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farming communiti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0002">
                <a:tc rowSpan="2"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ape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Wineland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er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SC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ural farming communiti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2730">
                <a:tc v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obertson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SC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ural farming communiti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5457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rince Alber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SC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roximit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to nearest DHA facilit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4549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Mosselba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SC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Y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ituated within a huge fast growing informal settlement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with migrant workers from EC </a:t>
                      </a: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67277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Ladismith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ontact Poin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roximit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to other DHA facilities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Community  request to political office bearer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19371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iversdal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Health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facility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roximity to other DHA Facilitie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Huge disadvantaged rural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community with high childbirth rates for  teenage  mother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01824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Vredenburg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ontact Poin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o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roximit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to nearest DHA  facility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err="1" smtClean="0">
                          <a:solidFill>
                            <a:schemeClr val="tx1"/>
                          </a:solidFill>
                        </a:rPr>
                        <a:t>Saldanha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– economic hub of the West  Coast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Fast growing informal settlements – migrant worker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2" marB="4572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060700" y="6359525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1601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4451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400" b="1" dirty="0" smtClean="0"/>
              <a:t>Burning issues : Facilities </a:t>
            </a:r>
            <a:endParaRPr lang="en-US" sz="24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90601"/>
            <a:ext cx="8229600" cy="47625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400" b="1" u="sng" dirty="0" err="1" smtClean="0"/>
              <a:t>Vredenburg</a:t>
            </a:r>
            <a:r>
              <a:rPr lang="en-US" sz="1400" b="1" u="sng" dirty="0" smtClean="0"/>
              <a:t>:</a:t>
            </a:r>
          </a:p>
          <a:p>
            <a:r>
              <a:rPr lang="en-US" sz="1400" dirty="0" smtClean="0"/>
              <a:t>Municipality gave DHA notice for termination of lease at </a:t>
            </a:r>
            <a:r>
              <a:rPr lang="en-US" sz="1400" dirty="0" err="1" smtClean="0"/>
              <a:t>Swemmer</a:t>
            </a:r>
            <a:r>
              <a:rPr lang="en-US" sz="1400" dirty="0" smtClean="0"/>
              <a:t> &amp; Levine Building </a:t>
            </a:r>
            <a:r>
              <a:rPr lang="en-US" sz="1400" dirty="0" err="1" smtClean="0"/>
              <a:t>w.e.f</a:t>
            </a:r>
            <a:r>
              <a:rPr lang="en-US" sz="1400" dirty="0" smtClean="0"/>
              <a:t>. 30 June 3017,</a:t>
            </a:r>
          </a:p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 smtClean="0"/>
              <a:t>Municipality provided alternative facility – DHA in process of refurbishing with the view of modernizing the office in 2018/2019,</a:t>
            </a:r>
          </a:p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 smtClean="0"/>
              <a:t>Office is currently functioning from back of the building whilst refurbishment of front office are in process. </a:t>
            </a:r>
          </a:p>
          <a:p>
            <a:endParaRPr lang="en-US" sz="1400" dirty="0"/>
          </a:p>
          <a:p>
            <a:pPr marL="0" indent="0">
              <a:buNone/>
            </a:pPr>
            <a:r>
              <a:rPr lang="en-US" sz="1400" b="1" u="sng" dirty="0" err="1" smtClean="0"/>
              <a:t>Malmesbury</a:t>
            </a:r>
            <a:r>
              <a:rPr lang="en-US" sz="1400" b="1" u="sng" dirty="0" smtClean="0"/>
              <a:t>:</a:t>
            </a:r>
          </a:p>
          <a:p>
            <a:r>
              <a:rPr lang="en-US" sz="1400" dirty="0" smtClean="0"/>
              <a:t>Landlord served DHA with a notice for lease termination and require DHA to vacate </a:t>
            </a:r>
            <a:r>
              <a:rPr lang="en-US" sz="1400" dirty="0" err="1" smtClean="0"/>
              <a:t>w.e.f</a:t>
            </a:r>
            <a:r>
              <a:rPr lang="en-US" sz="1400" dirty="0" smtClean="0"/>
              <a:t>  31 July 2017, </a:t>
            </a:r>
          </a:p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 smtClean="0"/>
              <a:t>DPW requested to negotiate extension of notice period until DHA secured a suitable alternative accommodation,</a:t>
            </a:r>
          </a:p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 smtClean="0"/>
              <a:t>DPW in process of negotiating extension with the landlord, </a:t>
            </a:r>
          </a:p>
          <a:p>
            <a:endParaRPr lang="en-US" sz="1400" dirty="0"/>
          </a:p>
          <a:p>
            <a:r>
              <a:rPr lang="en-US" sz="1400" dirty="0" smtClean="0"/>
              <a:t>DPW requested not to tender due to time constraints but to follow a negotiated strategy. 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7813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490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extBox 4"/>
          <p:cNvSpPr txBox="1">
            <a:spLocks noChangeArrowheads="1"/>
          </p:cNvSpPr>
          <p:nvPr/>
        </p:nvSpPr>
        <p:spPr bwMode="auto">
          <a:xfrm>
            <a:off x="161926" y="111126"/>
            <a:ext cx="8731249" cy="338137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sz="1600" b="1" dirty="0"/>
              <a:t>Alphabetical list of WC Offices  and classific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002846"/>
              </p:ext>
            </p:extLst>
          </p:nvPr>
        </p:nvGraphicFramePr>
        <p:xfrm>
          <a:off x="161925" y="558801"/>
          <a:ext cx="8731250" cy="53832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81683"/>
                <a:gridCol w="1429416"/>
                <a:gridCol w="1474067"/>
                <a:gridCol w="1037663"/>
                <a:gridCol w="620657"/>
                <a:gridCol w="3387764"/>
              </a:tblGrid>
              <a:tr h="554558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PROVI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SERVICE POINT NA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DISTRICT MUNICIPALITY NA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LOCAL MUNICIPALITY NA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URBAN / RUR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OFFICE  - STREET ADDRES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44350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ATLANTIS/ HARTEBEESKRA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ity of Cape Town M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ity of Cape Town M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Mpcc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Hartebeeskraal</a:t>
                      </a:r>
                      <a:r>
                        <a:rPr lang="en-US" sz="1100" u="none" strike="noStrike" dirty="0">
                          <a:effectLst/>
                        </a:rPr>
                        <a:t>, 1 </a:t>
                      </a:r>
                      <a:r>
                        <a:rPr lang="en-US" sz="1100" u="none" strike="noStrike" dirty="0" err="1">
                          <a:effectLst/>
                        </a:rPr>
                        <a:t>Notthingham</a:t>
                      </a:r>
                      <a:r>
                        <a:rPr lang="en-US" sz="1100" u="none" strike="noStrike" dirty="0">
                          <a:effectLst/>
                        </a:rPr>
                        <a:t> Street, Atlanti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EAUFORT WE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entral Karoo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eaufort West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3 De </a:t>
                      </a:r>
                      <a:r>
                        <a:rPr lang="en-US" sz="1100" u="none" strike="noStrike" dirty="0" err="1">
                          <a:effectLst/>
                        </a:rPr>
                        <a:t>Vries</a:t>
                      </a:r>
                      <a:r>
                        <a:rPr lang="en-US" sz="1100" u="none" strike="noStrike" dirty="0">
                          <a:effectLst/>
                        </a:rPr>
                        <a:t> Street, </a:t>
                      </a:r>
                      <a:r>
                        <a:rPr lang="en-US" sz="1100" u="none" strike="noStrike" dirty="0" err="1">
                          <a:effectLst/>
                        </a:rPr>
                        <a:t>Thusong</a:t>
                      </a:r>
                      <a:r>
                        <a:rPr lang="en-US" sz="1100" u="none" strike="noStrike" dirty="0">
                          <a:effectLst/>
                        </a:rPr>
                        <a:t> Centre, Beaufort West, 697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ELLVILL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 dirty="0">
                          <a:effectLst/>
                        </a:rPr>
                        <a:t>Boston Centre, 85 Voortrekker Road, Bellville,7530</a:t>
                      </a:r>
                      <a:endParaRPr lang="nl-N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REDASDORP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verberg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pe Agulhas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09 Park Street, Bredasdorp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LED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verberg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eewaterskloof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11 Haw Street, Caled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PE TOW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ity of Cape Town M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Faircape Buiding, 56 Barrack Street, Cape Tow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ERES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pe Winelands DM (Boland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itzenberg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anorama Street, Bellavista, Ceres, Erf no: 262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897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GEORGE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den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George L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09 York Street , Telkom Building ,George 653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GRABOUW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verberg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Theewaterskloof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Old Traffic Department, </a:t>
                      </a:r>
                      <a:r>
                        <a:rPr lang="en-US" sz="1100" u="none" strike="noStrike" dirty="0" err="1">
                          <a:effectLst/>
                        </a:rPr>
                        <a:t>Grabouw</a:t>
                      </a:r>
                      <a:r>
                        <a:rPr lang="en-US" sz="1100" u="none" strike="noStrike" dirty="0">
                          <a:effectLst/>
                        </a:rPr>
                        <a:t> 716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KHAYELITSHA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/O </a:t>
                      </a:r>
                      <a:r>
                        <a:rPr lang="en-US" sz="1100" u="none" strike="noStrike" dirty="0" err="1">
                          <a:effectLst/>
                        </a:rPr>
                        <a:t>Tsolo</a:t>
                      </a:r>
                      <a:r>
                        <a:rPr lang="en-US" sz="1100" u="none" strike="noStrike" dirty="0">
                          <a:effectLst/>
                        </a:rPr>
                        <a:t> And </a:t>
                      </a:r>
                      <a:r>
                        <a:rPr lang="en-US" sz="1100" u="none" strike="noStrike" dirty="0" err="1">
                          <a:effectLst/>
                        </a:rPr>
                        <a:t>Mzala</a:t>
                      </a:r>
                      <a:r>
                        <a:rPr lang="en-US" sz="1100" u="none" strike="noStrike" dirty="0">
                          <a:effectLst/>
                        </a:rPr>
                        <a:t> Street, </a:t>
                      </a:r>
                      <a:r>
                        <a:rPr lang="en-US" sz="1100" u="none" strike="noStrike" dirty="0" err="1">
                          <a:effectLst/>
                        </a:rPr>
                        <a:t>Khayelitsha</a:t>
                      </a:r>
                      <a:r>
                        <a:rPr lang="en-US" sz="1100" u="none" strike="noStrike" dirty="0">
                          <a:effectLst/>
                        </a:rPr>
                        <a:t>, 779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6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LAINGSBUR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entral Karoo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Laingsburg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u="none" strike="noStrike">
                          <a:effectLst/>
                        </a:rPr>
                        <a:t>Cnr Main &amp; 3Rd Avenue, Goldnerville Laingsburg</a:t>
                      </a:r>
                      <a:endParaRPr lang="fr-FR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7431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ALMESBUR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est Coast D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wartland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5 Piet Retief Street Malmesbury, 730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5216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ITCHELL'S PLAI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 Alpha Street ,Beacon Valley,Mitchell'S Plai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73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MOSSEL BA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den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ossel Bay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Thusong</a:t>
                      </a:r>
                      <a:r>
                        <a:rPr lang="en-US" sz="1100" u="none" strike="noStrike" dirty="0">
                          <a:effectLst/>
                        </a:rPr>
                        <a:t> Service Centre, 108 </a:t>
                      </a:r>
                      <a:r>
                        <a:rPr lang="en-US" sz="1100" u="none" strike="noStrike" dirty="0" err="1">
                          <a:effectLst/>
                        </a:rPr>
                        <a:t>Adriaans</a:t>
                      </a:r>
                      <a:r>
                        <a:rPr lang="en-US" sz="1100" u="none" strike="noStrike" dirty="0">
                          <a:effectLst/>
                        </a:rPr>
                        <a:t> Street, </a:t>
                      </a:r>
                      <a:r>
                        <a:rPr lang="en-US" sz="1100" u="none" strike="noStrike" dirty="0" err="1">
                          <a:effectLst/>
                        </a:rPr>
                        <a:t>KwaNonqaba</a:t>
                      </a:r>
                      <a:r>
                        <a:rPr lang="en-US" sz="1100" u="none" strike="noStrike" dirty="0">
                          <a:effectLst/>
                        </a:rPr>
                        <a:t>, </a:t>
                      </a:r>
                      <a:r>
                        <a:rPr lang="en-US" sz="1100" u="none" strike="noStrike" dirty="0" err="1">
                          <a:effectLst/>
                        </a:rPr>
                        <a:t>Mossel</a:t>
                      </a:r>
                      <a:r>
                        <a:rPr lang="en-US" sz="1100" u="none" strike="noStrike" dirty="0">
                          <a:effectLst/>
                        </a:rPr>
                        <a:t> Ba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9083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81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520249"/>
              </p:ext>
            </p:extLst>
          </p:nvPr>
        </p:nvGraphicFramePr>
        <p:xfrm>
          <a:off x="161925" y="669930"/>
          <a:ext cx="8731250" cy="54419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81683"/>
                <a:gridCol w="1429416"/>
                <a:gridCol w="1474067"/>
                <a:gridCol w="1037663"/>
                <a:gridCol w="620657"/>
                <a:gridCol w="3387764"/>
              </a:tblGrid>
              <a:tr h="54179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PROVINC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SERVICE POINT NA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DISTRICT MUNICIPALITY NA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LOCAL MUNICIPALITY NAM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URBAN / RURAL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OFFICE  - STREET ADDRESS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tint val="66000"/>
                            <a:satMod val="160000"/>
                          </a:srgbClr>
                        </a:gs>
                        <a:gs pos="50000">
                          <a:srgbClr val="FFFF00">
                            <a:tint val="44500"/>
                            <a:satMod val="160000"/>
                          </a:srgbClr>
                        </a:gs>
                        <a:gs pos="100000">
                          <a:srgbClr val="FFFF0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NYANGA (NONTSUMPA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/O New </a:t>
                      </a:r>
                      <a:r>
                        <a:rPr lang="en-US" sz="1100" u="none" strike="noStrike" dirty="0" err="1">
                          <a:effectLst/>
                        </a:rPr>
                        <a:t>Eisleben</a:t>
                      </a:r>
                      <a:r>
                        <a:rPr lang="en-US" sz="1100" u="none" strike="noStrike" dirty="0">
                          <a:effectLst/>
                        </a:rPr>
                        <a:t> &amp; Miller Street, Crossroads, 775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152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UDTSHOOR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den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udtshoorn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73 </a:t>
                      </a:r>
                      <a:r>
                        <a:rPr lang="en-US" sz="1100" u="none" strike="noStrike" dirty="0" err="1">
                          <a:effectLst/>
                        </a:rPr>
                        <a:t>Dassie</a:t>
                      </a:r>
                      <a:r>
                        <a:rPr lang="en-US" sz="1100" u="none" strike="noStrike" dirty="0">
                          <a:effectLst/>
                        </a:rPr>
                        <a:t> Road, Bridgton, </a:t>
                      </a:r>
                      <a:r>
                        <a:rPr lang="en-US" sz="1100" u="none" strike="noStrike" dirty="0" err="1">
                          <a:effectLst/>
                        </a:rPr>
                        <a:t>Oudtshoorn</a:t>
                      </a:r>
                      <a:r>
                        <a:rPr lang="en-US" sz="1100" u="none" strike="noStrike" dirty="0">
                          <a:effectLst/>
                        </a:rPr>
                        <a:t>, 662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AAR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ape </a:t>
                      </a:r>
                      <a:r>
                        <a:rPr lang="en-US" sz="1100" u="none" strike="noStrike" dirty="0" err="1">
                          <a:effectLst/>
                        </a:rPr>
                        <a:t>Winelands</a:t>
                      </a:r>
                      <a:r>
                        <a:rPr lang="en-US" sz="1100" u="none" strike="noStrike" dirty="0">
                          <a:effectLst/>
                        </a:rPr>
                        <a:t> DM (Boland)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Drakenstein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39 Castle Street, Paar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61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INCE ALBER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entral Karoo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Prince Albert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Adderley</a:t>
                      </a:r>
                      <a:r>
                        <a:rPr lang="en-US" sz="1100" u="none" strike="noStrike" dirty="0">
                          <a:effectLst/>
                        </a:rPr>
                        <a:t> Street 1, Prince Albert, 693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179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OBERTSO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pe Winelands DM (Boland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effectLst/>
                        </a:rPr>
                        <a:t>Breede</a:t>
                      </a:r>
                      <a:r>
                        <a:rPr lang="en-US" sz="1100" u="none" strike="noStrike" dirty="0">
                          <a:effectLst/>
                        </a:rPr>
                        <a:t> River/</a:t>
                      </a:r>
                      <a:r>
                        <a:rPr lang="en-US" sz="1100" u="none" strike="noStrike" dirty="0" err="1">
                          <a:effectLst/>
                        </a:rPr>
                        <a:t>Winelands</a:t>
                      </a:r>
                      <a:r>
                        <a:rPr lang="en-US" sz="1100" u="none" strike="noStrike" dirty="0">
                          <a:effectLst/>
                        </a:rPr>
                        <a:t> L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40 Paddy Street, Robertson </a:t>
                      </a:r>
                      <a:r>
                        <a:rPr lang="en-US" sz="1100" u="none" strike="noStrike" dirty="0" err="1">
                          <a:effectLst/>
                        </a:rPr>
                        <a:t>Thusong</a:t>
                      </a:r>
                      <a:r>
                        <a:rPr lang="en-US" sz="1100" u="none" strike="noStrike" dirty="0">
                          <a:effectLst/>
                        </a:rPr>
                        <a:t> Centre, Roberts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1795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IMUNYE (PLETTENBERG BAY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Eden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itou LM 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Xipula Street,Kwanokathula,Plettenbergbay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OMERSET WEST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ity of Cape Town M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Department of </a:t>
                      </a:r>
                      <a:r>
                        <a:rPr lang="en-US" sz="1100" u="none" strike="noStrike" dirty="0" err="1">
                          <a:effectLst/>
                        </a:rPr>
                        <a:t>Labour</a:t>
                      </a:r>
                      <a:r>
                        <a:rPr lang="en-US" sz="1100" u="none" strike="noStrike" dirty="0">
                          <a:effectLst/>
                        </a:rPr>
                        <a:t> building, 117 main Road, Somerset West, 713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TELLENBOSC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pe Winelands DM (Boland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tellenbosch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/O Ryneveld And Jan Cilliers Street. Stellenbosch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8261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WELLENDA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Overberg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wellendam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100" u="none" strike="noStrike">
                          <a:effectLst/>
                        </a:rPr>
                        <a:t>01 Vollenhoven Street, Railton, Swallendam</a:t>
                      </a:r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VICKY ZIMI (CITRUS DAL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est Coast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ederberg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Vicky </a:t>
                      </a:r>
                      <a:r>
                        <a:rPr lang="en-US" sz="1100" u="none" strike="noStrike" dirty="0" err="1">
                          <a:effectLst/>
                        </a:rPr>
                        <a:t>Zimri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Thusong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Centre,Bohemia</a:t>
                      </a:r>
                      <a:r>
                        <a:rPr lang="en-US" sz="1100" u="none" strike="noStrike" dirty="0">
                          <a:effectLst/>
                        </a:rPr>
                        <a:t> Street, 734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VREDENBUR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est Coast D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Saldanha Bay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10 Main Road, Vredenburg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VREDEND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est Coast D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Matzikama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RURAL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/o </a:t>
                      </a:r>
                      <a:r>
                        <a:rPr lang="en-US" sz="1100" u="none" strike="noStrike" dirty="0" err="1">
                          <a:effectLst/>
                        </a:rPr>
                        <a:t>Hoerskool</a:t>
                      </a:r>
                      <a:r>
                        <a:rPr lang="en-US" sz="1100" u="none" strike="noStrike" dirty="0">
                          <a:effectLst/>
                        </a:rPr>
                        <a:t> and </a:t>
                      </a:r>
                      <a:r>
                        <a:rPr lang="en-US" sz="1100" u="none" strike="noStrike" dirty="0" err="1">
                          <a:effectLst/>
                        </a:rPr>
                        <a:t>Bult</a:t>
                      </a:r>
                      <a:r>
                        <a:rPr lang="en-US" sz="1100" u="none" strike="noStrike" dirty="0">
                          <a:effectLst/>
                        </a:rPr>
                        <a:t> Street, </a:t>
                      </a:r>
                      <a:r>
                        <a:rPr lang="en-US" sz="1100" u="none" strike="noStrike" dirty="0" err="1">
                          <a:effectLst/>
                        </a:rPr>
                        <a:t>Vredendal</a:t>
                      </a:r>
                      <a:r>
                        <a:rPr lang="en-US" sz="1100" u="none" strike="noStrike" dirty="0">
                          <a:effectLst/>
                        </a:rPr>
                        <a:t> </a:t>
                      </a:r>
                      <a:r>
                        <a:rPr lang="en-US" sz="1100" u="none" strike="noStrike" dirty="0" err="1">
                          <a:effectLst/>
                        </a:rPr>
                        <a:t>Thusong</a:t>
                      </a:r>
                      <a:r>
                        <a:rPr lang="en-US" sz="1100" u="none" strike="noStrike" dirty="0">
                          <a:effectLst/>
                        </a:rPr>
                        <a:t> Centre, 816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C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WORCESTER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ape Winelands DM (Boland)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Breede Valley L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71-73 </a:t>
                      </a:r>
                      <a:r>
                        <a:rPr lang="en-US" sz="1100" u="none" strike="noStrike" dirty="0" err="1">
                          <a:effectLst/>
                        </a:rPr>
                        <a:t>Adderley</a:t>
                      </a:r>
                      <a:r>
                        <a:rPr lang="en-US" sz="1100" u="none" strike="noStrike" dirty="0">
                          <a:effectLst/>
                        </a:rPr>
                        <a:t> Street Worcester 685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62202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C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WYNBERG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City of Cape Town M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City of Cape Town MM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>
                          <a:effectLst/>
                        </a:rPr>
                        <a:t>URBAN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Maynard Mall, Level 2, 70 Main Road, Wynberg, 782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2816" marR="2816" marT="281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380" name="TextBox 4"/>
          <p:cNvSpPr txBox="1">
            <a:spLocks noChangeArrowheads="1"/>
          </p:cNvSpPr>
          <p:nvPr/>
        </p:nvSpPr>
        <p:spPr bwMode="auto">
          <a:xfrm>
            <a:off x="161924" y="331788"/>
            <a:ext cx="8575675" cy="338137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sz="1600" b="1" dirty="0"/>
              <a:t>Alphabetical list of WC Offices  and classification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7051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242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274" y="274638"/>
            <a:ext cx="8769352" cy="58261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400" b="1" dirty="0" smtClean="0"/>
              <a:t>Number of Health facilities</a:t>
            </a:r>
            <a:endParaRPr lang="en-US" sz="2400" b="1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8009811"/>
              </p:ext>
            </p:extLst>
          </p:nvPr>
        </p:nvGraphicFramePr>
        <p:xfrm>
          <a:off x="168274" y="950531"/>
          <a:ext cx="8769352" cy="5219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2391"/>
                <a:gridCol w="1244435"/>
                <a:gridCol w="1657350"/>
                <a:gridCol w="1606550"/>
                <a:gridCol w="2968626"/>
              </a:tblGrid>
              <a:tr h="440119">
                <a:tc rowSpan="2">
                  <a:txBody>
                    <a:bodyPr/>
                    <a:lstStyle/>
                    <a:p>
                      <a:r>
                        <a:rPr lang="en-ZA" sz="1200" b="1" dirty="0" smtClean="0">
                          <a:solidFill>
                            <a:schemeClr val="tx1"/>
                          </a:solidFill>
                        </a:rPr>
                        <a:t>REGION</a:t>
                      </a:r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ZA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ZA" sz="1200" b="1" dirty="0" smtClean="0">
                          <a:solidFill>
                            <a:schemeClr val="tx1"/>
                          </a:solidFill>
                        </a:rPr>
                        <a:t>NUMBER</a:t>
                      </a:r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</a:rPr>
                        <a:t> OF HEALTH FACILITES </a:t>
                      </a:r>
                      <a:endParaRPr lang="en-ZA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en-ZA" sz="1200" b="1" dirty="0" smtClean="0">
                          <a:solidFill>
                            <a:schemeClr val="tx1"/>
                          </a:solidFill>
                        </a:rPr>
                        <a:t>STATUS</a:t>
                      </a:r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</a:rPr>
                        <a:t>(ONLINE OR NOT) </a:t>
                      </a:r>
                      <a:endParaRPr lang="en-ZA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ZA" sz="1200" b="1" dirty="0" smtClean="0">
                          <a:solidFill>
                            <a:schemeClr val="tx1"/>
                          </a:solidFill>
                        </a:rPr>
                        <a:t>NUMBER OF STAFF </a:t>
                      </a:r>
                    </a:p>
                    <a:p>
                      <a:endParaRPr lang="en-ZA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</a:tr>
              <a:tr h="287719"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 b="1" dirty="0" smtClean="0">
                          <a:solidFill>
                            <a:schemeClr val="tx1"/>
                          </a:solidFill>
                        </a:rPr>
                        <a:t>Permanent  level 5</a:t>
                      </a:r>
                      <a:endParaRPr lang="en-ZA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b="1" dirty="0" smtClean="0">
                          <a:solidFill>
                            <a:schemeClr val="tx1"/>
                          </a:solidFill>
                        </a:rPr>
                        <a:t>Additional</a:t>
                      </a:r>
                      <a:r>
                        <a:rPr lang="en-ZA" sz="1200" b="1" baseline="0" dirty="0" smtClean="0">
                          <a:solidFill>
                            <a:schemeClr val="tx1"/>
                          </a:solidFill>
                        </a:rPr>
                        <a:t> capacity deployed (Level 6)</a:t>
                      </a:r>
                      <a:endParaRPr lang="en-ZA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922884">
                <a:tc>
                  <a:txBody>
                    <a:bodyPr/>
                    <a:lstStyle/>
                    <a:p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5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7 connected</a:t>
                      </a: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8 not connect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8 </a:t>
                      </a:r>
                    </a:p>
                    <a:p>
                      <a:endParaRPr lang="en-ZA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 Mobile operators </a:t>
                      </a:r>
                    </a:p>
                    <a:p>
                      <a:endParaRPr lang="en-ZA" sz="12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 Permanent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ly stationed at Hospital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42102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ape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Winelands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 connected </a:t>
                      </a: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 not connected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 (each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official is visiting a  public and private hospital  a day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2740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den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strict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 </a:t>
                      </a: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onnected </a:t>
                      </a: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 not connected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 Mobile operator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93700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entral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Karoo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0 connected</a:t>
                      </a:r>
                    </a:p>
                    <a:p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 </a:t>
                      </a: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not connected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23740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West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Coast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 connected</a:t>
                      </a: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not connected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 Mobile operator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8990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verberg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 Connected</a:t>
                      </a:r>
                    </a:p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 not connected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53205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60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7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Connected</a:t>
                      </a:r>
                    </a:p>
                    <a:p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3 Not connected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13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41 ( Some of the facilities are not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visited each day but by arrangement  between the office manager and health facility. 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50190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68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0641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1800" b="1" dirty="0" smtClean="0"/>
              <a:t>Provincial Archive: Bellville Large Office</a:t>
            </a:r>
            <a:endParaRPr lang="en-US" sz="1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100" y="914400"/>
            <a:ext cx="8724900" cy="572770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The Bellville Office is the first  Office to accommodate a Provincial Archives:</a:t>
            </a:r>
          </a:p>
          <a:p>
            <a:pPr marL="0" indent="0">
              <a:buNone/>
            </a:pP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Benefits of the Provincial Archive Facility: 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Secured safe keeping of records, 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Controlled access to public records,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Free up space in local front offices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Lockable safes for Supply Chain Management (SCM) payment  batches</a:t>
            </a:r>
          </a:p>
          <a:p>
            <a:pPr>
              <a:buFont typeface="Arial" pitchFamily="34" charset="0"/>
              <a:buChar char="•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Documents stored according to approved archiving standards</a:t>
            </a:r>
          </a:p>
          <a:p>
            <a:pPr marL="0" indent="0">
              <a:buNone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The Provincial archives are divided as follows:</a:t>
            </a: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Cape </a:t>
            </a:r>
            <a:r>
              <a:rPr lang="en-US" sz="1400" dirty="0" err="1" smtClean="0">
                <a:latin typeface="Arial" pitchFamily="34" charset="0"/>
                <a:cs typeface="Arial" pitchFamily="34" charset="0"/>
              </a:rPr>
              <a:t>Winelands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Central Karoo</a:t>
            </a: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Cape Metro</a:t>
            </a: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Overberg</a:t>
            </a: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Eden</a:t>
            </a: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West Coast</a:t>
            </a: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Provincial Office</a:t>
            </a:r>
          </a:p>
          <a:p>
            <a:pPr marL="514350" indent="-514350"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Cape Town International Airport (CTIA) and Cape Town Port of Entry </a:t>
            </a:r>
          </a:p>
          <a:p>
            <a:pPr marL="0" indent="0">
              <a:buNone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marL="0" indent="0">
              <a:buNone/>
            </a:pPr>
            <a:r>
              <a:rPr lang="en-US" sz="1400" b="1" dirty="0" smtClean="0">
                <a:latin typeface="Arial" pitchFamily="34" charset="0"/>
                <a:cs typeface="Arial" pitchFamily="34" charset="0"/>
              </a:rPr>
              <a:t>Process:</a:t>
            </a:r>
          </a:p>
          <a:p>
            <a:pPr>
              <a:buFont typeface="+mj-lt"/>
              <a:buAutoNum type="arabicPeriod"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Local Offices provided the opportunity twice a year (June &amp; December) to list live archives and transfer to the Bellville facility</a:t>
            </a:r>
          </a:p>
          <a:p>
            <a:pPr marL="0" indent="0">
              <a:buNone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2.    Disposal listing will be done once annually to apply for  approval of destruction of expired archives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    from the Accounting Officer</a:t>
            </a:r>
          </a:p>
          <a:p>
            <a:pPr marL="0" indent="0">
              <a:buNone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593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254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400" b="1" dirty="0" smtClean="0"/>
              <a:t>High Volume Offices and queue management strategies </a:t>
            </a:r>
            <a:endParaRPr lang="en-US" sz="2400" b="1" dirty="0"/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320675" y="782842"/>
            <a:ext cx="8823325" cy="440120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US" b="1" dirty="0" smtClean="0"/>
              <a:t>Efforts to reduce waiting times:</a:t>
            </a:r>
          </a:p>
          <a:p>
            <a:pPr>
              <a:defRPr/>
            </a:pPr>
            <a:endParaRPr lang="en-US" b="1" dirty="0"/>
          </a:p>
          <a:p>
            <a:pPr marL="342900" indent="-342900">
              <a:buFont typeface="+mj-lt"/>
              <a:buAutoNum type="arabicPeriod"/>
              <a:defRPr/>
            </a:pPr>
            <a:r>
              <a:rPr lang="en-US" dirty="0"/>
              <a:t>Signage displayed on queue poles placed outside of the office to categories queues into:</a:t>
            </a:r>
          </a:p>
          <a:p>
            <a:pPr marL="1657350" lvl="3" indent="-285750">
              <a:buFont typeface="Wingdings" pitchFamily="2" charset="2"/>
              <a:buChar char="Ø"/>
              <a:defRPr/>
            </a:pPr>
            <a:r>
              <a:rPr lang="en-US" dirty="0"/>
              <a:t>Smart card and passport applications</a:t>
            </a:r>
            <a:r>
              <a:rPr lang="en-US" dirty="0" smtClean="0"/>
              <a:t>,</a:t>
            </a:r>
          </a:p>
          <a:p>
            <a:pPr marL="1371600" lvl="3" indent="0">
              <a:defRPr/>
            </a:pPr>
            <a:endParaRPr lang="en-US" dirty="0"/>
          </a:p>
          <a:p>
            <a:pPr marL="1657350" lvl="3" indent="-285750">
              <a:buFont typeface="Wingdings" pitchFamily="2" charset="2"/>
              <a:buChar char="Ø"/>
              <a:defRPr/>
            </a:pPr>
            <a:r>
              <a:rPr lang="en-US" dirty="0"/>
              <a:t>Smart card and passport collections</a:t>
            </a:r>
            <a:r>
              <a:rPr lang="en-US" dirty="0" smtClean="0"/>
              <a:t>,</a:t>
            </a:r>
          </a:p>
          <a:p>
            <a:pPr marL="1371600" lvl="3" indent="0">
              <a:defRPr/>
            </a:pPr>
            <a:endParaRPr lang="en-US" dirty="0"/>
          </a:p>
          <a:p>
            <a:pPr marL="1657350" lvl="3" indent="-285750">
              <a:buFont typeface="Wingdings" pitchFamily="2" charset="2"/>
              <a:buChar char="Ø"/>
              <a:defRPr/>
            </a:pPr>
            <a:r>
              <a:rPr lang="en-US" dirty="0"/>
              <a:t>Legacy system applications (Birth-, Death- registration, Temporary ID Certificates).</a:t>
            </a:r>
          </a:p>
          <a:p>
            <a:pPr lvl="3">
              <a:defRPr/>
            </a:pPr>
            <a:endParaRPr lang="en-US" dirty="0"/>
          </a:p>
          <a:p>
            <a:pPr marL="342900" indent="-342900">
              <a:buFont typeface="+mj-lt"/>
              <a:buAutoNum type="arabicPeriod"/>
              <a:defRPr/>
            </a:pPr>
            <a:r>
              <a:rPr lang="en-US" dirty="0"/>
              <a:t>Prioritize client categories: Elderly, pregnant mothers, mothers with </a:t>
            </a:r>
            <a:r>
              <a:rPr lang="en-US" dirty="0" smtClean="0"/>
              <a:t>infants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dirty="0"/>
          </a:p>
          <a:p>
            <a:pPr marL="342900" indent="-342900">
              <a:buFont typeface="+mj-lt"/>
              <a:buAutoNum type="arabicPeriod"/>
              <a:defRPr/>
            </a:pPr>
            <a:r>
              <a:rPr lang="en-US" dirty="0" smtClean="0"/>
              <a:t>Scholars with uniform accompanied by parents are prioritised</a:t>
            </a:r>
            <a:endParaRPr lang="en-US" dirty="0"/>
          </a:p>
          <a:p>
            <a:pPr marL="342900" indent="-342900">
              <a:buFont typeface="+mj-lt"/>
              <a:buAutoNum type="arabicPeriod"/>
              <a:defRPr/>
            </a:pPr>
            <a:endParaRPr lang="en-US" dirty="0"/>
          </a:p>
          <a:p>
            <a:pPr marL="342900" indent="-342900">
              <a:buFont typeface="+mj-lt"/>
              <a:buAutoNum type="arabicPeriod"/>
              <a:defRPr/>
            </a:pPr>
            <a:r>
              <a:rPr lang="en-US" dirty="0"/>
              <a:t>Compulsory for office managers to visit front office areas every 2 </a:t>
            </a:r>
            <a:r>
              <a:rPr lang="en-US" dirty="0" smtClean="0"/>
              <a:t>hours and interact with clients 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dirty="0"/>
          </a:p>
          <a:p>
            <a:pPr marL="342900" indent="-342900">
              <a:buFont typeface="+mj-lt"/>
              <a:buAutoNum type="arabicPeriod"/>
              <a:defRPr/>
            </a:pPr>
            <a:r>
              <a:rPr lang="en-US" dirty="0" smtClean="0"/>
              <a:t>Floorwalkers </a:t>
            </a:r>
            <a:r>
              <a:rPr lang="en-US" dirty="0"/>
              <a:t>direct clients and communicate approximate waiting times to clients inside of the office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en-US" dirty="0"/>
          </a:p>
          <a:p>
            <a:pPr marL="342900" indent="-342900">
              <a:buFont typeface="+mj-lt"/>
              <a:buAutoNum type="arabicPeriod"/>
              <a:defRPr/>
            </a:pPr>
            <a:r>
              <a:rPr lang="en-US" dirty="0" smtClean="0"/>
              <a:t>Radio Bulletin during peak periods to direct clients to low volume offices (morning &amp; afternoon slots)</a:t>
            </a:r>
          </a:p>
          <a:p>
            <a:pPr>
              <a:defRPr/>
            </a:pPr>
            <a:endParaRPr lang="en-US" dirty="0" smtClean="0"/>
          </a:p>
          <a:p>
            <a:pPr>
              <a:defRPr/>
            </a:pPr>
            <a:r>
              <a:rPr lang="en-US" dirty="0" smtClean="0"/>
              <a:t>7.    Continuous communication to clients when high volumes are experienced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1623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0124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1"/>
          <p:cNvSpPr txBox="1">
            <a:spLocks noChangeArrowheads="1"/>
          </p:cNvSpPr>
          <p:nvPr/>
        </p:nvSpPr>
        <p:spPr bwMode="auto">
          <a:xfrm>
            <a:off x="176213" y="530225"/>
            <a:ext cx="8761412" cy="4862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001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endParaRPr lang="en-US" sz="1600" dirty="0"/>
          </a:p>
          <a:p>
            <a:r>
              <a:rPr lang="en-US" b="1" dirty="0"/>
              <a:t>Cape Metro: </a:t>
            </a:r>
            <a:r>
              <a:rPr lang="en-US" b="1" dirty="0" smtClean="0"/>
              <a:t>Du Noon </a:t>
            </a:r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dirty="0"/>
              <a:t>informal settlement on the outskirts of Cape Town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prone to service delivery protest</a:t>
            </a:r>
          </a:p>
          <a:p>
            <a:endParaRPr lang="en-US" dirty="0"/>
          </a:p>
          <a:p>
            <a:r>
              <a:rPr lang="en-US" b="1" dirty="0"/>
              <a:t>Cape Metro: Bonteheuwel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Huge disadvantaged densely populated settlements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Will alleviate pressure  by reducing client influx at Cape Town and Bellville Offices</a:t>
            </a:r>
          </a:p>
          <a:p>
            <a:endParaRPr lang="en-US" dirty="0"/>
          </a:p>
          <a:p>
            <a:r>
              <a:rPr lang="en-US" b="1" dirty="0" err="1"/>
              <a:t>Hessequa</a:t>
            </a:r>
            <a:r>
              <a:rPr lang="en-US" b="1" dirty="0"/>
              <a:t>: Riversdale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Very poor farming communities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Very far from nearest DHA facilities - high childbirth rates for teenage mothers</a:t>
            </a:r>
          </a:p>
          <a:p>
            <a:endParaRPr lang="en-US" dirty="0"/>
          </a:p>
          <a:p>
            <a:r>
              <a:rPr lang="en-US" b="1" dirty="0"/>
              <a:t>Cape </a:t>
            </a:r>
            <a:r>
              <a:rPr lang="en-US" b="1" dirty="0" err="1"/>
              <a:t>Winelands</a:t>
            </a:r>
            <a:r>
              <a:rPr lang="en-US" b="1" dirty="0"/>
              <a:t>: </a:t>
            </a:r>
            <a:r>
              <a:rPr lang="en-US" b="1" dirty="0" smtClean="0"/>
              <a:t>De </a:t>
            </a:r>
            <a:r>
              <a:rPr lang="en-US" b="1" dirty="0" err="1"/>
              <a:t>D</a:t>
            </a:r>
            <a:r>
              <a:rPr lang="en-US" b="1" dirty="0" err="1" smtClean="0"/>
              <a:t>oorns</a:t>
            </a:r>
            <a:endParaRPr lang="en-US" b="1" dirty="0"/>
          </a:p>
          <a:p>
            <a:pPr lvl="2">
              <a:buFont typeface="Wingdings" pitchFamily="2" charset="2"/>
              <a:buChar char="Ø"/>
            </a:pPr>
            <a:r>
              <a:rPr lang="en-US" dirty="0"/>
              <a:t>Big informal settlements Farm workers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Area is prone to incidents of Xenophobia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Security cluster – priority area</a:t>
            </a:r>
          </a:p>
          <a:p>
            <a:endParaRPr lang="en-US" dirty="0"/>
          </a:p>
          <a:p>
            <a:r>
              <a:rPr lang="en-US" b="1" u="sng" dirty="0"/>
              <a:t>Modernization 2017/2018 FY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/>
              <a:t>Stellenbosch Office to alleviate client volumes at Somerset West, Bellville and Paarl Office</a:t>
            </a:r>
          </a:p>
          <a:p>
            <a:pPr lvl="2">
              <a:buFont typeface="Wingdings" pitchFamily="2" charset="2"/>
              <a:buChar char="Ø"/>
            </a:pPr>
            <a:r>
              <a:rPr lang="en-US" dirty="0" err="1"/>
              <a:t>Grabouw</a:t>
            </a:r>
            <a:r>
              <a:rPr lang="en-US" dirty="0"/>
              <a:t>:  Huge informal settlements prone to service delivery protest, will service fishing communities of </a:t>
            </a:r>
            <a:r>
              <a:rPr lang="en-US" dirty="0" err="1"/>
              <a:t>Hawstone</a:t>
            </a:r>
            <a:r>
              <a:rPr lang="en-US" dirty="0"/>
              <a:t> and </a:t>
            </a:r>
            <a:r>
              <a:rPr lang="en-US" dirty="0" err="1"/>
              <a:t>Overstrand</a:t>
            </a:r>
            <a:r>
              <a:rPr lang="en-US" dirty="0"/>
              <a:t> area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76213" y="292100"/>
            <a:ext cx="8485187" cy="36933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/>
              <a:t>Going forward: Footprint expansion 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755900" y="61991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42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320674" y="2281442"/>
            <a:ext cx="8455025" cy="70788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4000" dirty="0" smtClean="0"/>
              <a:t>Provincial Resourc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8448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69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253999" y="274638"/>
            <a:ext cx="8813801" cy="4238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sz="2400" b="1" dirty="0" smtClean="0"/>
              <a:t>Staff breakdown per office: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9464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19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8667158"/>
              </p:ext>
            </p:extLst>
          </p:nvPr>
        </p:nvGraphicFramePr>
        <p:xfrm>
          <a:off x="253999" y="698500"/>
          <a:ext cx="8813801" cy="56562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9200"/>
                <a:gridCol w="1667775"/>
                <a:gridCol w="1141280"/>
                <a:gridCol w="970621"/>
                <a:gridCol w="682634"/>
                <a:gridCol w="1052393"/>
                <a:gridCol w="810627"/>
                <a:gridCol w="1269271"/>
              </a:tblGrid>
              <a:tr h="77055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istric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fice 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 number of funded pos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umber funded vacanci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Filled as at 30 June 201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umber  of staff Civic Servic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Number </a:t>
                      </a: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 IMS memb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upport staff (OM, Cleaners, Security, Sate Accountants 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etc.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DMO Cape Metr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Large Office Cape Tow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9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9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Large Office Khayelitsh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Bellvil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Mitchell's Plai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Nyanga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7336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Wynber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53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9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87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DMO Cape Wineland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Large Office Paar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Somerset Wes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Stellenbosc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Worceste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SP Cer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PSP Roberts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ape </a:t>
                      </a:r>
                      <a:r>
                        <a:rPr lang="en-US" sz="1200" b="1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Wineland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5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4823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07006"/>
          </a:xfrm>
          <a:solidFill>
            <a:srgbClr val="92D050"/>
          </a:solidFill>
        </p:spPr>
        <p:txBody>
          <a:bodyPr>
            <a:normAutofit/>
          </a:bodyPr>
          <a:lstStyle/>
          <a:p>
            <a:r>
              <a:rPr lang="en-US" sz="2000" b="1" dirty="0" smtClean="0"/>
              <a:t>Content </a:t>
            </a:r>
            <a:endParaRPr lang="en-US" sz="2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57250"/>
            <a:ext cx="8229600" cy="5499100"/>
          </a:xfrm>
          <a:solidFill>
            <a:schemeClr val="bg1"/>
          </a:solidFill>
        </p:spPr>
        <p:txBody>
          <a:bodyPr>
            <a:normAutofit fontScale="32500" lnSpcReduction="20000"/>
          </a:bodyPr>
          <a:lstStyle/>
          <a:p>
            <a:pPr marL="0" indent="0">
              <a:buNone/>
              <a:defRPr/>
            </a:pPr>
            <a:r>
              <a:rPr lang="en-US" altLang="en-US" sz="4300" b="1" dirty="0" smtClean="0">
                <a:solidFill>
                  <a:srgbClr val="000000"/>
                </a:solidFill>
              </a:rPr>
              <a:t>Provincial Overview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Geographical layout of the Province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Governance Structure (alignment span of control for DMO structures to enhance service delivery)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High level overview of Western Cape Province: access to clients 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Footprint expansion during the past 5 years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Provincial Archive 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Current burning issues: Facilities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Alphabetical list of all facilities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Health facilities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Provincial Archive  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High volume offices and queue management strategies.</a:t>
            </a:r>
          </a:p>
          <a:p>
            <a:pPr>
              <a:buFont typeface="Arial"/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 Future  expansion</a:t>
            </a:r>
          </a:p>
          <a:p>
            <a:pPr marL="0" indent="0">
              <a:buNone/>
              <a:defRPr/>
            </a:pPr>
            <a:endParaRPr lang="en-US" altLang="en-US" sz="4300" dirty="0" smtClean="0">
              <a:solidFill>
                <a:srgbClr val="000000"/>
              </a:solidFill>
            </a:endParaRPr>
          </a:p>
          <a:p>
            <a:pPr marL="0" indent="0">
              <a:buNone/>
              <a:defRPr/>
            </a:pPr>
            <a:r>
              <a:rPr lang="en-US" altLang="en-US" sz="4300" b="1" dirty="0" smtClean="0">
                <a:solidFill>
                  <a:srgbClr val="000000"/>
                </a:solidFill>
              </a:rPr>
              <a:t>Provincial Resources: 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Staff compliment</a:t>
            </a:r>
          </a:p>
          <a:p>
            <a:pPr>
              <a:buAutoNum type="arabicParenR"/>
              <a:defRPr/>
            </a:pPr>
            <a:r>
              <a:rPr lang="en-US" altLang="en-US" sz="4300" dirty="0" smtClean="0">
                <a:solidFill>
                  <a:srgbClr val="000000"/>
                </a:solidFill>
              </a:rPr>
              <a:t>Progress in achievement of e</a:t>
            </a:r>
            <a:r>
              <a:rPr lang="en-US" altLang="en-US" sz="4400" dirty="0" smtClean="0">
                <a:solidFill>
                  <a:srgbClr val="000000"/>
                </a:solidFill>
              </a:rPr>
              <a:t>quity targets</a:t>
            </a:r>
          </a:p>
          <a:p>
            <a:pPr>
              <a:buAutoNum type="arabicParenR"/>
              <a:defRPr/>
            </a:pPr>
            <a:r>
              <a:rPr lang="en-US" altLang="en-US" sz="4400" dirty="0" smtClean="0">
                <a:solidFill>
                  <a:srgbClr val="000000"/>
                </a:solidFill>
              </a:rPr>
              <a:t>Vetting  </a:t>
            </a:r>
          </a:p>
          <a:p>
            <a:pPr>
              <a:buFont typeface="Arial"/>
              <a:buAutoNum type="arabicParenR"/>
              <a:defRPr/>
            </a:pPr>
            <a:r>
              <a:rPr lang="en-US" altLang="en-US" sz="4400" dirty="0" smtClean="0">
                <a:solidFill>
                  <a:srgbClr val="000000"/>
                </a:solidFill>
              </a:rPr>
              <a:t>Employee Wellness programmes</a:t>
            </a:r>
          </a:p>
          <a:p>
            <a:pPr>
              <a:buFont typeface="Arial"/>
              <a:buAutoNum type="arabicParenR"/>
              <a:defRPr/>
            </a:pPr>
            <a:r>
              <a:rPr lang="en-US" altLang="en-US" sz="4400" dirty="0" err="1" smtClean="0">
                <a:solidFill>
                  <a:srgbClr val="000000"/>
                </a:solidFill>
              </a:rPr>
              <a:t>Moetapele</a:t>
            </a:r>
            <a:r>
              <a:rPr lang="en-US" altLang="en-US" sz="4400" dirty="0" smtClean="0">
                <a:solidFill>
                  <a:srgbClr val="000000"/>
                </a:solidFill>
              </a:rPr>
              <a:t> – reward &amp; recognition</a:t>
            </a:r>
          </a:p>
          <a:p>
            <a:pPr>
              <a:buFont typeface="Arial"/>
              <a:buAutoNum type="arabicParenR"/>
              <a:defRPr/>
            </a:pPr>
            <a:r>
              <a:rPr lang="en-US" altLang="en-US" sz="4400" dirty="0" smtClean="0">
                <a:solidFill>
                  <a:srgbClr val="000000"/>
                </a:solidFill>
              </a:rPr>
              <a:t>Employee Engagement </a:t>
            </a:r>
          </a:p>
          <a:p>
            <a:pPr>
              <a:buFont typeface="Arial"/>
              <a:buAutoNum type="arabicParenR"/>
              <a:defRPr/>
            </a:pPr>
            <a:r>
              <a:rPr lang="en-US" altLang="en-US" sz="4400" dirty="0" smtClean="0">
                <a:solidFill>
                  <a:srgbClr val="000000"/>
                </a:solidFill>
              </a:rPr>
              <a:t>Counter Corruption</a:t>
            </a:r>
          </a:p>
          <a:p>
            <a:pPr>
              <a:buAutoNum type="arabicParenR"/>
              <a:defRPr/>
            </a:pPr>
            <a:r>
              <a:rPr lang="en-US" altLang="en-US" sz="4400" dirty="0" smtClean="0">
                <a:solidFill>
                  <a:srgbClr val="000000"/>
                </a:solidFill>
              </a:rPr>
              <a:t>Provincial Fleet</a:t>
            </a:r>
          </a:p>
          <a:p>
            <a:pPr>
              <a:buAutoNum type="arabicParenR"/>
              <a:defRPr/>
            </a:pPr>
            <a:r>
              <a:rPr lang="en-US" altLang="en-US" sz="4400" dirty="0" smtClean="0">
                <a:solidFill>
                  <a:srgbClr val="000000"/>
                </a:solidFill>
              </a:rPr>
              <a:t>Budget and cost reduction measures</a:t>
            </a:r>
          </a:p>
          <a:p>
            <a:pPr marL="0" indent="0">
              <a:buNone/>
              <a:defRPr/>
            </a:pPr>
            <a:endParaRPr lang="en-US" altLang="en-US" sz="44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altLang="en-US" sz="34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altLang="en-US" sz="3400" dirty="0" smtClean="0">
              <a:solidFill>
                <a:srgbClr val="000000"/>
              </a:solidFill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altLang="en-US" sz="3400" dirty="0" smtClean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2260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2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203199" y="274638"/>
            <a:ext cx="8813801" cy="3603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sz="2400" b="1" dirty="0" smtClean="0"/>
              <a:t>Staff breakdown per office continued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9464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0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887634"/>
              </p:ext>
            </p:extLst>
          </p:nvPr>
        </p:nvGraphicFramePr>
        <p:xfrm>
          <a:off x="203200" y="763653"/>
          <a:ext cx="8813801" cy="54101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9200"/>
                <a:gridCol w="1667775"/>
                <a:gridCol w="1141280"/>
                <a:gridCol w="970621"/>
                <a:gridCol w="682634"/>
                <a:gridCol w="1052393"/>
                <a:gridCol w="810627"/>
                <a:gridCol w="1269271"/>
              </a:tblGrid>
              <a:tr h="77055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istric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fice 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 number of funded pos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umber funded vacanci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Filled as at 30 June 201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umber  of staff Civic Servic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Number </a:t>
                      </a: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 IMS memb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upport staff (OM, Cleaners, Security, Sate Accountants 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etc.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DMO Central Karoo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Beaufort Wes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SP Prince Alber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20615">
                <a:tc>
                  <a:txBody>
                    <a:bodyPr/>
                    <a:lstStyle/>
                    <a:p>
                      <a:pPr algn="l" fontAlgn="t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TH Laignsbur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entral Karoo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4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</a:t>
                      </a:r>
                      <a:r>
                        <a:rPr lang="en-US" sz="1200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Oudtshoor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DMO Ede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Large Office Georg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Mosselba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TH Plettenberg Ba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Ede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1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4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DMO West Coas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Malmesbur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Vredendal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TH Atlanti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SP Vredenbur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H </a:t>
                      </a:r>
                      <a:r>
                        <a:rPr lang="en-US" sz="1200" b="1" u="none" strike="noStrike" dirty="0" err="1">
                          <a:effectLst/>
                          <a:latin typeface="Arial" pitchFamily="34" charset="0"/>
                          <a:cs typeface="Arial" pitchFamily="34" charset="0"/>
                        </a:rPr>
                        <a:t>Citrusd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85271">
                <a:tc>
                  <a:txBody>
                    <a:bodyPr/>
                    <a:lstStyle/>
                    <a:p>
                      <a:pPr marL="0" marR="0" indent="0" algn="l" defTabSz="4572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West Coast</a:t>
                      </a:r>
                      <a:endParaRPr lang="en-US" sz="12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7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8823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203199" y="274638"/>
            <a:ext cx="8813801" cy="4873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400" b="1" dirty="0" smtClean="0"/>
              <a:t>Staff breakdown per office continued 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946400" y="6226174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1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8712649"/>
              </p:ext>
            </p:extLst>
          </p:nvPr>
        </p:nvGraphicFramePr>
        <p:xfrm>
          <a:off x="190499" y="1005587"/>
          <a:ext cx="8813801" cy="299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9200"/>
                <a:gridCol w="1667775"/>
                <a:gridCol w="1141280"/>
                <a:gridCol w="970621"/>
                <a:gridCol w="682634"/>
                <a:gridCol w="1052393"/>
                <a:gridCol w="810627"/>
                <a:gridCol w="1269271"/>
              </a:tblGrid>
              <a:tr h="77055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istric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fice Nam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 number of funded post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Number funded vacancies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Filled as at 30 June 2017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Number  of staff Civic Service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Number </a:t>
                      </a:r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f IMS members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upport staff (OM, Cleaners, Security, Sate Accountants 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etc.)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8712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edium Office Caled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SP Bredasdorp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SP Grabouw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195413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SP Swellendam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278118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Overberg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5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355600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MO: WC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PMO: </a:t>
                      </a:r>
                      <a:r>
                        <a:rPr lang="en-US" sz="12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WC (5%)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46498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Total number of staff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5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*2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2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2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5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528" marR="3528" marT="352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03200" y="4364742"/>
            <a:ext cx="8318239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400" b="1" dirty="0"/>
              <a:t>53% of the total staff compliment is within the Cape Metro – contributes 80% to the APP targe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The Province has a vacancy rate of 5,1% which is below the  prescribed DPSA rate of 10%,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b="1" dirty="0" smtClean="0"/>
              <a:t>* 25 posts i.e. 19 x vacancies  filled </a:t>
            </a:r>
            <a:r>
              <a:rPr lang="en-US" sz="1400" b="1" dirty="0" err="1" smtClean="0"/>
              <a:t>w.e.f</a:t>
            </a:r>
            <a:r>
              <a:rPr lang="en-US" sz="1400" b="1" dirty="0" smtClean="0"/>
              <a:t>. 30 June 2017 and 6 x offer letters issued  at </a:t>
            </a:r>
            <a:r>
              <a:rPr lang="en-US" sz="1400" b="1" dirty="0"/>
              <a:t>the end of June </a:t>
            </a:r>
            <a:r>
              <a:rPr lang="en-US" sz="1400" b="1" dirty="0" smtClean="0"/>
              <a:t>2017</a:t>
            </a:r>
            <a:endParaRPr lang="en-US" sz="1400" b="1" dirty="0"/>
          </a:p>
          <a:p>
            <a:pPr marL="1200150" lvl="2" indent="-285750">
              <a:buFont typeface="Wingdings" pitchFamily="2" charset="2"/>
              <a:buChar char="Ø"/>
            </a:pPr>
            <a:r>
              <a:rPr lang="en-US" sz="1400" b="1" dirty="0" smtClean="0"/>
              <a:t>1x </a:t>
            </a:r>
            <a:r>
              <a:rPr lang="en-US" sz="1400" b="1" dirty="0"/>
              <a:t>Post reserved for Arbitration  Award, </a:t>
            </a:r>
            <a:endParaRPr lang="en-US" sz="1400" b="1" dirty="0" smtClean="0"/>
          </a:p>
          <a:p>
            <a:pPr marL="1200150" lvl="2" indent="-285750">
              <a:buFont typeface="Wingdings" pitchFamily="2" charset="2"/>
              <a:buChar char="Ø"/>
            </a:pPr>
            <a:r>
              <a:rPr lang="en-US" sz="1400" b="1" dirty="0" smtClean="0"/>
              <a:t>6 x Promotions.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721140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349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sz="2800" b="1" dirty="0" smtClean="0"/>
              <a:t>Progress in achieving equity targets on 3 July 2017 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1334584"/>
              </p:ext>
            </p:extLst>
          </p:nvPr>
        </p:nvGraphicFramePr>
        <p:xfrm>
          <a:off x="457200" y="811508"/>
          <a:ext cx="8280400" cy="20437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26745"/>
                <a:gridCol w="693367"/>
                <a:gridCol w="640031"/>
                <a:gridCol w="520025"/>
                <a:gridCol w="746703"/>
                <a:gridCol w="440021"/>
                <a:gridCol w="466689"/>
                <a:gridCol w="580881"/>
                <a:gridCol w="555206"/>
                <a:gridCol w="407906"/>
                <a:gridCol w="532544"/>
                <a:gridCol w="475891"/>
                <a:gridCol w="594391"/>
              </a:tblGrid>
              <a:tr h="333375">
                <a:tc rowSpan="2"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AFRICA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COLOURE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INDIAN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WHITE 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333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FEMAL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MALE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FEMAL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MALE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FEMAL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MALE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FEMAL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MALE 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</a:rPr>
                        <a:t>TOTAL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3543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WESTERN CAP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14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0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0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80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8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3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5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8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47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6627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Provincial EAP by Population Group and Gender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6.1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.9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2.5%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6.2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1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4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6.6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8.2%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DHA Percentage Representation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34.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1.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9.9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.7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6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.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.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.7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926764"/>
              </p:ext>
            </p:extLst>
          </p:nvPr>
        </p:nvGraphicFramePr>
        <p:xfrm>
          <a:off x="457200" y="2971800"/>
          <a:ext cx="3239231" cy="20139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60450"/>
                <a:gridCol w="2178781"/>
              </a:tblGrid>
              <a:tr h="282279">
                <a:tc>
                  <a:txBody>
                    <a:bodyPr/>
                    <a:lstStyle/>
                    <a:p>
                      <a:pPr algn="ctr" fontAlgn="ctr"/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u="none" strike="noStrike" dirty="0">
                          <a:effectLst/>
                        </a:rPr>
                        <a:t>PEOPLE WITH DISABILIT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vel</a:t>
                      </a:r>
                      <a:r>
                        <a:rPr lang="en-US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 smtClean="0">
                          <a:effectLst/>
                        </a:rPr>
                        <a:t>13 (2%)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5240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200" b="1" i="0" u="sng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reakdown per level </a:t>
                      </a:r>
                      <a:endParaRPr lang="en-US" sz="1200" b="1" i="0" u="sng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5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716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</a:rPr>
                        <a:t>6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4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</a:rPr>
                        <a:t>7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3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</a:rPr>
                        <a:t>8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2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>
                          <a:effectLst/>
                        </a:rPr>
                        <a:t>9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4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10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114300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29631" y="620703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2</a:t>
            </a:fld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3931688"/>
              </p:ext>
            </p:extLst>
          </p:nvPr>
        </p:nvGraphicFramePr>
        <p:xfrm>
          <a:off x="3860799" y="2928779"/>
          <a:ext cx="4876801" cy="2214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80689" y="5301019"/>
            <a:ext cx="886331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Province achieved 2% representation  for physically challenged persons  - Staff ranging throughout level s 3- 10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/>
              <a:t>Representation: males = 38% , Females 62%.</a:t>
            </a:r>
          </a:p>
          <a:p>
            <a:endParaRPr lang="en-US" sz="14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4536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35259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800" dirty="0" smtClean="0"/>
              <a:t>Vetting as at Q1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960914" y="6050644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3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342900" y="4114800"/>
            <a:ext cx="83439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b="1" dirty="0" smtClean="0"/>
              <a:t>Data not inclusive of all newly appointed members</a:t>
            </a:r>
          </a:p>
          <a:p>
            <a:endParaRPr lang="en-US" b="1" dirty="0" smtClean="0"/>
          </a:p>
          <a:p>
            <a:r>
              <a:rPr lang="en-US" b="1" dirty="0" smtClean="0"/>
              <a:t>Enhanced screening processes implemented by Sate Security Agency </a:t>
            </a:r>
            <a:r>
              <a:rPr lang="en-US" b="1" dirty="0" err="1" smtClean="0"/>
              <a:t>w.e.f</a:t>
            </a:r>
            <a:r>
              <a:rPr lang="en-US" b="1" dirty="0" smtClean="0"/>
              <a:t>  01 July 2017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Number of interviews increased from 3-5 for a </a:t>
            </a:r>
            <a:r>
              <a:rPr lang="en-US" b="1" u="sng" dirty="0" smtClean="0"/>
              <a:t>secret clearance </a:t>
            </a:r>
            <a:r>
              <a:rPr lang="en-US" dirty="0" smtClean="0"/>
              <a:t>and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3 – 6 interviews for a </a:t>
            </a:r>
            <a:r>
              <a:rPr lang="en-US" b="1" u="sng" dirty="0" smtClean="0"/>
              <a:t>top secret clearance</a:t>
            </a:r>
            <a:endParaRPr lang="en-US" b="1" u="sng" dirty="0"/>
          </a:p>
        </p:txBody>
      </p:sp>
      <p:graphicFrame>
        <p:nvGraphicFramePr>
          <p:cNvPr id="7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41602582"/>
              </p:ext>
            </p:extLst>
          </p:nvPr>
        </p:nvGraphicFramePr>
        <p:xfrm>
          <a:off x="1295400" y="990600"/>
          <a:ext cx="5562600" cy="29693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0200"/>
                <a:gridCol w="1725386"/>
                <a:gridCol w="1289957"/>
                <a:gridCol w="947057"/>
              </a:tblGrid>
              <a:tr h="39732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learance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ivic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Services &amp; Inspectorat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POE/ RRC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93914"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Top Secr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4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1257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Secr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8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8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09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6166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onfidential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64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73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914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In Proces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1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6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27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2900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Subtotal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416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107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523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10243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one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07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0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57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758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Expir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3071">
                <a:tc>
                  <a:txBody>
                    <a:bodyPr/>
                    <a:lstStyle/>
                    <a:p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* 532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158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690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606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872" y="274638"/>
            <a:ext cx="8352928" cy="6016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000" b="1" dirty="0" smtClean="0"/>
              <a:t>Employee Wellness Activities: Q1 </a:t>
            </a:r>
            <a:endParaRPr lang="en-US" sz="2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8735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4</a:t>
            </a:fld>
            <a:endParaRPr lang="en-US"/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926634"/>
              </p:ext>
            </p:extLst>
          </p:nvPr>
        </p:nvGraphicFramePr>
        <p:xfrm>
          <a:off x="333872" y="1003300"/>
          <a:ext cx="8352928" cy="2351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50628"/>
                <a:gridCol w="5702300"/>
              </a:tblGrid>
              <a:tr h="489799"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Dates</a:t>
                      </a:r>
                      <a:endParaRPr lang="en-ZA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ctivities</a:t>
                      </a:r>
                      <a:endParaRPr lang="en-ZA" sz="14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40527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5 May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2017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andle light memorial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9828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 June 2017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stribution of Sanitary Pads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nformation session regarding birth registration 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and ID applications,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Hand over of Sanity Towels to girls 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946945">
                <a:tc>
                  <a:txBody>
                    <a:bodyPr/>
                    <a:lstStyle/>
                    <a:p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6 Youth day</a:t>
                      </a:r>
                      <a:endParaRPr lang="en-Z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ZA" sz="12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stribution of Blanket, soup and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bread to people who sleep by the street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istribution of receiver blankets for babie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Hand over of clothing to fire victims of </a:t>
                      </a:r>
                      <a:r>
                        <a:rPr lang="en-ZA" sz="1200" baseline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Knysna</a:t>
                      </a:r>
                      <a:r>
                        <a:rPr lang="en-ZA" sz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Fire disaster.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4002658"/>
            <a:ext cx="2781300" cy="1900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14300" y="3621658"/>
            <a:ext cx="25490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Candle light memorial: George Office</a:t>
            </a:r>
            <a:endParaRPr lang="en-US" sz="1200" b="1" dirty="0"/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337" y="4002658"/>
            <a:ext cx="2384376" cy="1900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938613" y="3701216"/>
            <a:ext cx="24169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Hand over of blankets and clothing</a:t>
            </a:r>
            <a:endParaRPr lang="en-US" sz="1200" b="1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1220" y="4002658"/>
            <a:ext cx="1754180" cy="1900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81742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79" y="274638"/>
            <a:ext cx="9027620" cy="257377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sz="2000" b="1" dirty="0" err="1" smtClean="0"/>
              <a:t>Moetapele</a:t>
            </a:r>
            <a:r>
              <a:rPr lang="en-US" sz="2000" b="1" dirty="0"/>
              <a:t> </a:t>
            </a:r>
            <a:r>
              <a:rPr lang="en-US" sz="2000" b="1" dirty="0" smtClean="0"/>
              <a:t>/ Reward and Recognition</a:t>
            </a:r>
            <a:endParaRPr lang="en-US" sz="2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995353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5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88382"/>
              </p:ext>
            </p:extLst>
          </p:nvPr>
        </p:nvGraphicFramePr>
        <p:xfrm>
          <a:off x="116378" y="648392"/>
          <a:ext cx="8861368" cy="5270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5686"/>
                <a:gridCol w="232725"/>
                <a:gridCol w="3848875"/>
                <a:gridCol w="2354082"/>
              </a:tblGrid>
              <a:tr h="39399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nitiativ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ctivities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mpac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869675"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Moetapele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Champions for each offic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elected by staff 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onitoring and reporting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to Management and </a:t>
                      </a:r>
                      <a:r>
                        <a:rPr lang="en-US" sz="1400" baseline="0" dirty="0" err="1" smtClean="0">
                          <a:solidFill>
                            <a:schemeClr val="tx1"/>
                          </a:solidFill>
                        </a:rPr>
                        <a:t>Moetapel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Forum: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Wearing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 nametags,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Cleanliness of offices,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Maintenance of Attendance Register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Dress code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itchFamily="34" charset="0"/>
                        <a:buNone/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upport  Office Managers in an attempt to improve customer experien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7364"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DHA Annual Award &amp; Recognition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 Ceremony : Excellence Awards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15100">
                <a:tc gridSpan="2"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Best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performing Provin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ll 2016/2017 strategic targets achieved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95528">
                <a:tc gridSpan="2"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Employe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 the Yea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s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Kaman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(Provincial Managers: Office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38349">
                <a:tc gridSpan="2"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Best Managed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District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r M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Ngaka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(Eden &amp; Central Karoo District)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95528">
                <a:tc gridSpan="2"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Local Office of 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Excellence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s N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Mntonjeni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Plettenbergba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fice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84734">
                <a:tc gridSpan="2"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ost innovativ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Manager  (creativity and innovation)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r S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Qwabe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(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Mosselbay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Office)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5263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876551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6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608583"/>
              </p:ext>
            </p:extLst>
          </p:nvPr>
        </p:nvGraphicFramePr>
        <p:xfrm>
          <a:off x="116378" y="532015"/>
          <a:ext cx="9027621" cy="106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027621"/>
              </a:tblGrid>
              <a:tr h="33440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rovincial Award &amp; Recognition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 Ceremony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541649"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 Provincial Reward ceremony was also conducted to reward employees  whom went the extra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mile in  efforts to achieve the 2016/2017 birth registration targets  (i.e. employees volunteered to work on Saturdays and Sundays) . 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116379" y="274638"/>
            <a:ext cx="9027620" cy="257377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 err="1" smtClean="0"/>
              <a:t>Moetapele</a:t>
            </a:r>
            <a:r>
              <a:rPr lang="en-US" sz="2000" b="1" dirty="0" smtClean="0"/>
              <a:t> / Reward and Recognition</a:t>
            </a:r>
            <a:endParaRPr lang="en-US" sz="2000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0151" y="3971926"/>
            <a:ext cx="3071860" cy="1785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276" y="2326079"/>
            <a:ext cx="4265574" cy="2716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52475" y="1962150"/>
            <a:ext cx="30679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National Excellence Awards 2016/2017 </a:t>
            </a:r>
            <a:endParaRPr lang="en-US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5010151" y="3568184"/>
            <a:ext cx="2917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rovincial </a:t>
            </a:r>
            <a:r>
              <a:rPr lang="en-US" dirty="0" err="1" smtClean="0"/>
              <a:t>Moetapele</a:t>
            </a:r>
            <a:r>
              <a:rPr lang="en-US" dirty="0" smtClean="0"/>
              <a:t> Awar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879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8305802" cy="5254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800" b="1" dirty="0" smtClean="0"/>
              <a:t>Employee Engagement </a:t>
            </a: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2339395"/>
              </p:ext>
            </p:extLst>
          </p:nvPr>
        </p:nvGraphicFramePr>
        <p:xfrm>
          <a:off x="228600" y="1028700"/>
          <a:ext cx="8305802" cy="2293695"/>
        </p:xfrm>
        <a:graphic>
          <a:graphicData uri="http://schemas.openxmlformats.org/drawingml/2006/table">
            <a:tbl>
              <a:tblPr firstRow="1" firstCol="1" bandRow="1"/>
              <a:tblGrid>
                <a:gridCol w="1435159"/>
                <a:gridCol w="1406812"/>
                <a:gridCol w="1406812"/>
                <a:gridCol w="1061127"/>
                <a:gridCol w="1476848"/>
                <a:gridCol w="1519044"/>
              </a:tblGrid>
              <a:tr h="550718">
                <a:tc gridSpan="6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SCONDUCT CASES AS AT END JUNE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7</a:t>
                      </a:r>
                      <a:endParaRPr lang="en-US" sz="1400" b="1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7026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TATUS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TOTALS 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UPPORT SERVICES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VIC SERVICES</a:t>
                      </a:r>
                      <a:endParaRPr lang="en-US" sz="1400" b="1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MIGRATION 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ERVICES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FUGEE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SERVICES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330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dged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1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7</a:t>
                      </a:r>
                      <a:endParaRPr lang="en-ZA" sz="1400" b="1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3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30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lized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2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</a:t>
                      </a:r>
                      <a:endParaRPr lang="en-ZA" sz="1400" b="1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</a:tr>
              <a:tr h="3799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ding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430" marR="3043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5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ZA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 3</a:t>
                      </a:r>
                      <a:endParaRPr lang="en-US" sz="140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400" b="1" dirty="0" smtClean="0">
                          <a:effectLst/>
                          <a:latin typeface="Arial" panose="020B0604020202020204" pitchFamily="34" charset="0"/>
                          <a:ea typeface="Calibri"/>
                          <a:cs typeface="Arial" panose="020B0604020202020204" pitchFamily="34" charset="0"/>
                        </a:rPr>
                        <a:t>0</a:t>
                      </a:r>
                      <a:endParaRPr lang="en-US" sz="1400" b="1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228600" y="3469144"/>
            <a:ext cx="830579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2 Cases relating to Abscondmend/excessive absenteeism: Paarl Office –  Hearings finalis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 Case relating to excessive absenteeism: CTN Large Office – Hearing in process of finalis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 Case of excessive absenteeism: Wynberg – Pe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 Case of fraudulent birth certificates: Wynberg – </a:t>
            </a:r>
            <a:r>
              <a:rPr lang="en-US" sz="1400" dirty="0" smtClean="0"/>
              <a:t>Pending – case closed after employee passed away on 25/07/2017.</a:t>
            </a:r>
            <a:endParaRPr 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 Case of insubordination &amp; </a:t>
            </a:r>
            <a:r>
              <a:rPr lang="en-US" sz="1400" dirty="0" smtClean="0"/>
              <a:t>dereliction </a:t>
            </a:r>
            <a:r>
              <a:rPr lang="en-US" sz="1400" dirty="0"/>
              <a:t>of duty – Somerset West – Pe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 Case of </a:t>
            </a:r>
            <a:r>
              <a:rPr lang="en-US" sz="1400" dirty="0" smtClean="0"/>
              <a:t>abscondment: </a:t>
            </a:r>
            <a:r>
              <a:rPr lang="en-US" sz="1400" dirty="0"/>
              <a:t>Bellville Office – pe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1 case of Assault: Cape Town Harbour – pend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2 cases relating to the unlawful entry and departure of an illegal foreign national (Cape Town Internationa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794000" y="603250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238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1" y="274638"/>
            <a:ext cx="8360229" cy="4111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en-US" sz="2800" dirty="0" smtClean="0"/>
              <a:t>Counter Corruption &amp; Security Q1  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140528" y="6190116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8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543129"/>
              </p:ext>
            </p:extLst>
          </p:nvPr>
        </p:nvGraphicFramePr>
        <p:xfrm>
          <a:off x="457199" y="874485"/>
          <a:ext cx="5029201" cy="183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6144"/>
                <a:gridCol w="1894114"/>
                <a:gridCol w="1338943"/>
              </a:tblGrid>
              <a:tr h="370840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umber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of cases received Q1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Nature of cas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Corruption cases reported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2 x Fraud, 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3x corruption</a:t>
                      </a:r>
                    </a:p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Investigations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finalised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Unfounded cases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5 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199" y="2862551"/>
            <a:ext cx="82807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Note: 2 x recommendations made to secure processes 1 x  Refugees, 1x Civic Services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57198" y="3592286"/>
            <a:ext cx="822960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u="sng" dirty="0" smtClean="0"/>
              <a:t>Security Service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Stakeholder Forum established with Fidelity Cash Managemen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80% Offices compliant with appointment of  Fire Marshal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Security Risk Assessment concluded at </a:t>
            </a:r>
            <a:r>
              <a:rPr lang="en-US" sz="1600" dirty="0" err="1" smtClean="0"/>
              <a:t>Swellendam</a:t>
            </a:r>
            <a:r>
              <a:rPr lang="en-US" sz="1600" dirty="0" smtClean="0"/>
              <a:t> and </a:t>
            </a:r>
            <a:r>
              <a:rPr lang="en-US" sz="1600" dirty="0" err="1" smtClean="0"/>
              <a:t>Roberston</a:t>
            </a:r>
            <a:r>
              <a:rPr lang="en-US" sz="1600" dirty="0" smtClean="0"/>
              <a:t> Offices</a:t>
            </a:r>
          </a:p>
          <a:p>
            <a:endParaRPr lang="en-US" sz="1600" dirty="0"/>
          </a:p>
          <a:p>
            <a:r>
              <a:rPr lang="en-US" sz="1600" b="1" u="sng" dirty="0" smtClean="0"/>
              <a:t>Going forward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Arrange training intervention for Fire Marshalls and First Aiders,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Evacuation plans in process of being finalised in collaboration with local municipaliti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600" dirty="0" smtClean="0"/>
              <a:t>Fire drill</a:t>
            </a:r>
          </a:p>
        </p:txBody>
      </p:sp>
    </p:spTree>
    <p:extLst>
      <p:ext uri="{BB962C8B-B14F-4D97-AF65-F5344CB8AC3E}">
        <p14:creationId xmlns:p14="http://schemas.microsoft.com/office/powerpoint/2010/main" val="4267260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913397"/>
              </p:ext>
            </p:extLst>
          </p:nvPr>
        </p:nvGraphicFramePr>
        <p:xfrm>
          <a:off x="290410" y="638175"/>
          <a:ext cx="8731250" cy="24176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95490"/>
                <a:gridCol w="2768600"/>
                <a:gridCol w="4767160"/>
              </a:tblGrid>
              <a:tr h="57133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rea under review: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6" marB="457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shade val="30000"/>
                            <a:satMod val="115000"/>
                          </a:srgbClr>
                        </a:gs>
                        <a:gs pos="50000">
                          <a:srgbClr val="FFFF00">
                            <a:shade val="67500"/>
                            <a:satMod val="115000"/>
                          </a:srgbClr>
                        </a:gs>
                        <a:gs pos="100000">
                          <a:srgbClr val="FFFF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vailabl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6" marB="457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shade val="30000"/>
                            <a:satMod val="115000"/>
                          </a:srgbClr>
                        </a:gs>
                        <a:gs pos="50000">
                          <a:srgbClr val="FFFF00">
                            <a:shade val="67500"/>
                            <a:satMod val="115000"/>
                          </a:srgbClr>
                        </a:gs>
                        <a:gs pos="100000">
                          <a:srgbClr val="FFFF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omment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6" marB="457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shade val="30000"/>
                            <a:satMod val="115000"/>
                          </a:srgbClr>
                        </a:gs>
                        <a:gs pos="50000">
                          <a:srgbClr val="FFFF00">
                            <a:shade val="67500"/>
                            <a:satMod val="115000"/>
                          </a:srgbClr>
                        </a:gs>
                        <a:gs pos="100000">
                          <a:srgbClr val="FFFF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183848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ranspor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6" marB="457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otal number of  vehicles on WC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Asset Register =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80 Vehicles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r>
                        <a:rPr lang="en-US" sz="1400" b="1" u="sng" baseline="0" dirty="0" smtClean="0">
                          <a:solidFill>
                            <a:schemeClr val="tx1"/>
                          </a:solidFill>
                        </a:rPr>
                        <a:t>Service providers: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59 Departmental – Standard Bank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15 GMT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6 G-fleet (Immigration </a:t>
                      </a:r>
                      <a:r>
                        <a:rPr lang="en-US" sz="1400" baseline="0" dirty="0" err="1" smtClean="0">
                          <a:solidFill>
                            <a:schemeClr val="tx1"/>
                          </a:solidFill>
                        </a:rPr>
                        <a:t>Bakkies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91444" marR="91444" marT="45726" marB="457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Th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Province (Civic Services and PMO) returned 13 vehicles (3x G-Fleet, 10 x GMT) to service providers as part of its cost reduction measures. 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Aging fleet is costly to maintain &amp; becoming risk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Fleet services (rental &amp; utilization cost consumes  67% of the annual budget).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26" marB="45726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3568" name="TextBox 4"/>
          <p:cNvSpPr txBox="1">
            <a:spLocks noChangeArrowheads="1"/>
          </p:cNvSpPr>
          <p:nvPr/>
        </p:nvSpPr>
        <p:spPr bwMode="auto">
          <a:xfrm>
            <a:off x="236538" y="161926"/>
            <a:ext cx="8731250" cy="339725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sz="1600" b="1" dirty="0"/>
              <a:t>High level overview of resources within the Western Cape 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723244"/>
              </p:ext>
            </p:extLst>
          </p:nvPr>
        </p:nvGraphicFramePr>
        <p:xfrm>
          <a:off x="3538538" y="3366988"/>
          <a:ext cx="5429250" cy="28068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3286"/>
                <a:gridCol w="2075964"/>
              </a:tblGrid>
              <a:tr h="364821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Offi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shade val="30000"/>
                            <a:satMod val="115000"/>
                          </a:srgbClr>
                        </a:gs>
                        <a:gs pos="50000">
                          <a:srgbClr val="FFFF00">
                            <a:shade val="67500"/>
                            <a:satMod val="115000"/>
                          </a:srgbClr>
                        </a:gs>
                        <a:gs pos="100000">
                          <a:srgbClr val="FFFF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umber allocat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shade val="30000"/>
                            <a:satMod val="115000"/>
                          </a:srgbClr>
                        </a:gs>
                        <a:gs pos="50000">
                          <a:srgbClr val="FFFF00">
                            <a:shade val="67500"/>
                            <a:satMod val="115000"/>
                          </a:srgbClr>
                        </a:gs>
                        <a:gs pos="100000">
                          <a:srgbClr val="FFFF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3048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rovincial Offi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ivic services: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Front Offic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37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obile Offic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mmigration customized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812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orts of Entry (CT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PECC &amp; CTIA)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Refugee Offi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inistrie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3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Gs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fi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1" marR="91431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90410" y="3366988"/>
            <a:ext cx="2975078" cy="307777"/>
          </a:xfrm>
          <a:prstGeom prst="rect">
            <a:avLst/>
          </a:prstGeom>
          <a:gradFill flip="none" rotWithShape="1">
            <a:gsLst>
              <a:gs pos="0">
                <a:srgbClr val="FFFF00">
                  <a:shade val="30000"/>
                  <a:satMod val="115000"/>
                </a:srgbClr>
              </a:gs>
              <a:gs pos="50000">
                <a:srgbClr val="FFFF00">
                  <a:shade val="67500"/>
                  <a:satMod val="115000"/>
                </a:srgbClr>
              </a:gs>
              <a:gs pos="100000">
                <a:srgbClr val="FFFF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400" b="1" dirty="0"/>
              <a:t>Allocation of Provincial Fleet: 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928851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720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07006"/>
          </a:xfrm>
          <a:solidFill>
            <a:srgbClr val="92D050"/>
          </a:solidFill>
        </p:spPr>
        <p:txBody>
          <a:bodyPr>
            <a:normAutofit/>
          </a:bodyPr>
          <a:lstStyle/>
          <a:p>
            <a:r>
              <a:rPr lang="en-US" sz="2000" b="1" dirty="0" smtClean="0"/>
              <a:t>Content </a:t>
            </a:r>
            <a:endParaRPr lang="en-US" sz="2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57250"/>
            <a:ext cx="8229600" cy="3501808"/>
          </a:xfrm>
          <a:solidFill>
            <a:schemeClr val="bg1"/>
          </a:solidFill>
        </p:spPr>
        <p:txBody>
          <a:bodyPr>
            <a:normAutofit/>
          </a:bodyPr>
          <a:lstStyle/>
          <a:p>
            <a:pPr marL="0" indent="0">
              <a:buNone/>
              <a:defRPr/>
            </a:pPr>
            <a:r>
              <a:rPr lang="en-US" altLang="en-US" sz="1400" b="1" dirty="0" smtClean="0">
                <a:solidFill>
                  <a:srgbClr val="000000"/>
                </a:solidFill>
              </a:rPr>
              <a:t>Stakeholder engagement and integrated governance: </a:t>
            </a:r>
          </a:p>
          <a:p>
            <a:pPr marL="457200" indent="-457200">
              <a:buAutoNum type="arabicParenR"/>
              <a:defRPr/>
            </a:pPr>
            <a:r>
              <a:rPr lang="en-US" altLang="en-US" sz="1400" dirty="0" smtClean="0">
                <a:solidFill>
                  <a:srgbClr val="000000"/>
                </a:solidFill>
              </a:rPr>
              <a:t>Civic services</a:t>
            </a:r>
          </a:p>
          <a:p>
            <a:pPr marL="457200" indent="-457200">
              <a:buAutoNum type="arabicParenR"/>
              <a:defRPr/>
            </a:pPr>
            <a:r>
              <a:rPr lang="en-US" altLang="en-US" sz="1400" dirty="0" smtClean="0">
                <a:solidFill>
                  <a:srgbClr val="000000"/>
                </a:solidFill>
              </a:rPr>
              <a:t>Immigration Services  </a:t>
            </a:r>
          </a:p>
          <a:p>
            <a:pPr marL="457200" indent="-457200">
              <a:buAutoNum type="arabicParenR"/>
              <a:defRPr/>
            </a:pPr>
            <a:r>
              <a:rPr lang="en-US" altLang="en-US" sz="1400" dirty="0" smtClean="0">
                <a:solidFill>
                  <a:srgbClr val="000000"/>
                </a:solidFill>
              </a:rPr>
              <a:t>Outreach programmes</a:t>
            </a:r>
          </a:p>
          <a:p>
            <a:pPr marL="0" indent="0">
              <a:buNone/>
              <a:defRPr/>
            </a:pPr>
            <a:endParaRPr lang="en-US" altLang="en-US" sz="1400" dirty="0" smtClean="0">
              <a:solidFill>
                <a:srgbClr val="000000"/>
              </a:solidFill>
            </a:endParaRPr>
          </a:p>
          <a:p>
            <a:pPr marL="0" indent="0">
              <a:buNone/>
              <a:defRPr/>
            </a:pPr>
            <a:r>
              <a:rPr lang="en-US" altLang="en-US" sz="1400" b="1" dirty="0" smtClean="0">
                <a:solidFill>
                  <a:srgbClr val="000000"/>
                </a:solidFill>
              </a:rPr>
              <a:t>Provincial Performance in relation to APP targets 2017/2018 and strategies developed to achieve</a:t>
            </a:r>
          </a:p>
          <a:p>
            <a:pPr>
              <a:buAutoNum type="arabicParenR"/>
              <a:defRPr/>
            </a:pPr>
            <a:r>
              <a:rPr lang="en-US" altLang="en-US" sz="1400" dirty="0" smtClean="0">
                <a:solidFill>
                  <a:srgbClr val="000000"/>
                </a:solidFill>
              </a:rPr>
              <a:t>Birth Registration </a:t>
            </a:r>
          </a:p>
          <a:p>
            <a:pPr>
              <a:buAutoNum type="arabicParenR"/>
              <a:defRPr/>
            </a:pPr>
            <a:r>
              <a:rPr lang="en-US" altLang="en-US" sz="1400" dirty="0" smtClean="0">
                <a:solidFill>
                  <a:srgbClr val="000000"/>
                </a:solidFill>
              </a:rPr>
              <a:t>Late Registration of Births </a:t>
            </a:r>
          </a:p>
          <a:p>
            <a:pPr>
              <a:buAutoNum type="arabicParenR"/>
              <a:defRPr/>
            </a:pPr>
            <a:r>
              <a:rPr lang="en-US" altLang="en-US" sz="1400" dirty="0" smtClean="0">
                <a:solidFill>
                  <a:srgbClr val="000000"/>
                </a:solidFill>
              </a:rPr>
              <a:t>ID Smart Cards</a:t>
            </a:r>
          </a:p>
          <a:p>
            <a:pPr>
              <a:buAutoNum type="arabicParenR"/>
              <a:defRPr/>
            </a:pPr>
            <a:r>
              <a:rPr lang="en-US" altLang="en-US" sz="1400" dirty="0" smtClean="0">
                <a:solidFill>
                  <a:srgbClr val="000000"/>
                </a:solidFill>
              </a:rPr>
              <a:t>Payment of invoices within 30 days</a:t>
            </a:r>
            <a:endParaRPr lang="en-US" altLang="en-US" sz="3400" dirty="0" smtClean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22600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97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>
            <a:spLocks noGrp="1"/>
          </p:cNvSpPr>
          <p:nvPr>
            <p:ph type="title"/>
          </p:nvPr>
        </p:nvSpPr>
        <p:spPr>
          <a:xfrm>
            <a:off x="381000" y="76199"/>
            <a:ext cx="8458200" cy="683821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1600" b="1" dirty="0" smtClean="0">
                <a:latin typeface="Arial" pitchFamily="34" charset="0"/>
                <a:cs typeface="Arial" pitchFamily="34" charset="0"/>
              </a:rPr>
              <a:t>Western Cape Budget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and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expenditure as at end June 2017 </a:t>
            </a:r>
            <a:endParaRPr lang="en-US" sz="1600" b="1" dirty="0">
              <a:solidFill>
                <a:srgbClr val="FF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553380" y="6173787"/>
            <a:ext cx="2133600" cy="365125"/>
          </a:xfrm>
        </p:spPr>
        <p:txBody>
          <a:bodyPr/>
          <a:lstStyle/>
          <a:p>
            <a:pPr>
              <a:defRPr/>
            </a:pPr>
            <a:fld id="{5B926BD4-C987-4C90-B106-70A1F9874EC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8993" y="3352800"/>
            <a:ext cx="8435975" cy="18774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u="sng" dirty="0">
                <a:solidFill>
                  <a:prstClr val="black"/>
                </a:solidFill>
                <a:latin typeface="Calibri"/>
                <a:cs typeface="+mn-cs"/>
              </a:rPr>
              <a:t>Note: </a:t>
            </a:r>
            <a:endParaRPr lang="en-US" sz="1800" b="1" u="sng" dirty="0" smtClean="0">
              <a:solidFill>
                <a:prstClr val="black"/>
              </a:solidFill>
              <a:latin typeface="Calibri"/>
              <a:cs typeface="+mn-cs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Linear expenditure trend as at end of June 2017 = 24% within 2% prescribed threshold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ver  the past two FY the Province 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quired a bailout  of between R4-R4,5m 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annually on its G&amp;S budget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uring 2016/2017 </a:t>
            </a:r>
            <a:r>
              <a:rPr lang="en-US" sz="1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Y the Province </a:t>
            </a:r>
            <a:r>
              <a:rPr lang="en-US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roduced cost reduction measures as depicted in the next slide to stay within voted funds. </a:t>
            </a:r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0942468"/>
              </p:ext>
            </p:extLst>
          </p:nvPr>
        </p:nvGraphicFramePr>
        <p:xfrm>
          <a:off x="381000" y="1035452"/>
          <a:ext cx="8229599" cy="226430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8012"/>
                <a:gridCol w="1580023"/>
                <a:gridCol w="1527606"/>
                <a:gridCol w="1198122"/>
                <a:gridCol w="1357871"/>
                <a:gridCol w="1297965"/>
              </a:tblGrid>
              <a:tr h="33614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Economic Classificat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Expenditur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Commitment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Vote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vailabl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US" sz="12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% Spen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419470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Compensation of Employe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41,064,4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72,416,0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1,351,57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16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Goods &amp; Servic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,200,98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792,52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0,139,0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7,145,49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30%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3218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House Hold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,35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45,0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9,64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4640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Machinery &amp; Equipmen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24,84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299,407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1,403,00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978,75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30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169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Prov &amp; Local Gov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4,20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12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57,795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8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9697">
                <a:tc>
                  <a:txBody>
                    <a:bodyPr/>
                    <a:lstStyle/>
                    <a:p>
                      <a:pPr algn="l" rtl="0" fontAlgn="t"/>
                      <a:r>
                        <a:rPr lang="en-US" sz="1200" u="none" strike="noStrike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3,449,80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,091,92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84,215,00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39,673,26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4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491" marR="7491" marT="74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8978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8479258"/>
              </p:ext>
            </p:extLst>
          </p:nvPr>
        </p:nvGraphicFramePr>
        <p:xfrm>
          <a:off x="501650" y="987425"/>
          <a:ext cx="8391525" cy="46445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48079"/>
                <a:gridCol w="1843446"/>
              </a:tblGrid>
              <a:tr h="258786"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sng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escription </a:t>
                      </a:r>
                      <a:endParaRPr lang="en-US" sz="1400" b="1" i="1" u="sng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sng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Saving </a:t>
                      </a:r>
                      <a:endParaRPr lang="en-US" sz="1400" b="1" i="1" u="sng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  <a:tr h="390858"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Fleet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reduced with 13 vehicles (3x G-fleet&amp; 10x GMT)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,800,0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76474"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Traveling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- Flight, Accommodation &amp; Car rental reduced from R 3, 878 352 to R1,360 591(current</a:t>
                      </a: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ideo/ telephone conferencing with DMOs weekly </a:t>
                      </a:r>
                    </a:p>
                    <a:p>
                      <a:pPr marL="0" indent="0" algn="l" fontAlgn="t">
                        <a:buFont typeface="Arial" charset="0"/>
                        <a:buNone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,517,7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33605"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Franking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achines returned - license fees </a:t>
                      </a:r>
                      <a:endParaRPr lang="en-US" sz="1400" u="none" strike="noStrike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indent="0" algn="l" fontAlgn="t">
                        <a:buFont typeface="Arial" charset="0"/>
                        <a:buNone/>
                      </a:pPr>
                      <a:endParaRPr lang="en-US" sz="1400" u="none" strike="noStrike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76,00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43730"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DMOs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requested to keep KM claimed at 1500 km, may exceed (2000 km) every 2nd months when attending EMM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51282"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Management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meetings every 2 months- saving costs related to catering R216 000 (FY 15/16) to R10 940 (current) </a:t>
                      </a:r>
                      <a:endParaRPr lang="en-US" sz="1400" u="none" strike="noStrike" dirty="0" smtClean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eekly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EXCO - 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eleconference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with Managers in outer Districts </a:t>
                      </a:r>
                    </a:p>
                    <a:p>
                      <a:pPr marL="0" indent="0" algn="l" fontAlgn="t">
                        <a:buFont typeface="Arial" pitchFamily="34" charset="0"/>
                        <a:buNone/>
                      </a:pP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5,06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34158">
                <a:tc rowSpan="2"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Limited </a:t>
                      </a:r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procurement of toner and cartridges - all general staff in offices connected to photocopy machines for printing, scanning and faxing- Only Oki Ribbons procured spend 2015/2016 FY R 319 660 vs. R 250 038 - 2016/2017 FY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400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69 62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46570">
                <a:tc vMerge="1">
                  <a:txBody>
                    <a:bodyPr/>
                    <a:lstStyle/>
                    <a:p>
                      <a:pPr algn="l" fontAlgn="t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400" u="sng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4,598,821</a:t>
                      </a:r>
                      <a:endParaRPr lang="en-US" sz="1400" b="1" i="0" u="sng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87" marR="6887" marT="688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5630" name="TextBox 3"/>
          <p:cNvSpPr txBox="1">
            <a:spLocks noChangeArrowheads="1"/>
          </p:cNvSpPr>
          <p:nvPr/>
        </p:nvSpPr>
        <p:spPr bwMode="auto">
          <a:xfrm>
            <a:off x="501650" y="501650"/>
            <a:ext cx="8391525" cy="338138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prstClr val="black"/>
                </a:solidFill>
              </a:rPr>
              <a:t>Cost reduction measures implemented 2016/2017 F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959629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23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346200" y="2260600"/>
            <a:ext cx="669202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 smtClean="0"/>
              <a:t>Stakeholder engagement </a:t>
            </a:r>
            <a:endParaRPr lang="en-US" sz="48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3876502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068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199" y="79376"/>
            <a:ext cx="8483601" cy="4111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285750" indent="-285750">
              <a:defRPr/>
            </a:pPr>
            <a:r>
              <a:rPr lang="en-US" altLang="en-US" sz="2400" b="1" dirty="0" smtClean="0"/>
              <a:t>Stakeholder engagement </a:t>
            </a:r>
            <a:endParaRPr lang="en-US" altLang="en-US" sz="2400" b="1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6643515"/>
              </p:ext>
            </p:extLst>
          </p:nvPr>
        </p:nvGraphicFramePr>
        <p:xfrm>
          <a:off x="203199" y="685798"/>
          <a:ext cx="8636001" cy="5616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6581"/>
                <a:gridCol w="6019420"/>
              </a:tblGrid>
              <a:tr h="39998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takeholde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atur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 co-operation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55888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ept.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 Justice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ourt processes regarding Immigration (IMS) cases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6832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AP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Participat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in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MS operations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Civic Services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 taking of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affidavits and render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support during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outreach programmes i.e. fire disasters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6037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ept.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 Health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Birth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registration projects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Created a Provincial Engagement Platform created / Task team deals with process related issues. 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7241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ASSA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nformation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sharing and attending to referrals from SASSA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89830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ept. of Labou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nformation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sharing </a:t>
                      </a:r>
                    </a:p>
                    <a:p>
                      <a:pPr marL="285750" marR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Participate in IMS operations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888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ept. of Social Development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nformation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sharing and referrals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ocial Workers reports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for late registration  of birth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5888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GOs:</a:t>
                      </a:r>
                    </a:p>
                    <a:p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Mol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Songololo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&amp; Child Welfare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-      Birth registration of abandoned children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9988">
                <a:tc>
                  <a:txBody>
                    <a:bodyPr/>
                    <a:lstStyle/>
                    <a:p>
                      <a:r>
                        <a:rPr lang="en-US" sz="1400" dirty="0" err="1" smtClean="0">
                          <a:solidFill>
                            <a:schemeClr val="tx1"/>
                          </a:solidFill>
                        </a:rPr>
                        <a:t>Medi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Clinic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-      Birth registration 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378200" y="6301878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977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199" y="79376"/>
            <a:ext cx="8483601" cy="41116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285750" indent="-285750">
              <a:defRPr/>
            </a:pPr>
            <a:r>
              <a:rPr lang="en-US" altLang="en-US" sz="2400" b="1" dirty="0" smtClean="0"/>
              <a:t>Stakeholder engagement </a:t>
            </a:r>
            <a:endParaRPr lang="en-US" altLang="en-US" sz="2400" b="1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806204"/>
              </p:ext>
            </p:extLst>
          </p:nvPr>
        </p:nvGraphicFramePr>
        <p:xfrm>
          <a:off x="203199" y="685798"/>
          <a:ext cx="8636001" cy="43382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5886"/>
                <a:gridCol w="5670115"/>
              </a:tblGrid>
              <a:tr h="39998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Stakeholder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Nature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f co-operation 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558888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Marriage Officers Forum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iscussion / Resolutions  on day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to day operational issues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Discussion and awareness on new developments within the DHA and Marriage legislation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6832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Funeral Undertakers</a:t>
                      </a: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In process of developing a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Provincial database of  Death  Registrars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Training programmes in place and on going</a:t>
                      </a: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68326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DHA led Stakeholder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forums:</a:t>
                      </a:r>
                    </a:p>
                    <a:p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400" b="1" u="sng" baseline="0" dirty="0" smtClean="0">
                          <a:solidFill>
                            <a:schemeClr val="tx1"/>
                          </a:solidFill>
                        </a:rPr>
                        <a:t>Launched and active:</a:t>
                      </a: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Provincial – Launched Feb 2017</a:t>
                      </a: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Eden-, </a:t>
                      </a: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Overberg- </a:t>
                      </a:r>
                    </a:p>
                    <a:p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Central Karoo District Municipalities</a:t>
                      </a:r>
                    </a:p>
                    <a:p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Joint</a:t>
                      </a: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 outreach programmes,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Information sharing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Assistance in eradication of Late registration of Birth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400" baseline="0" dirty="0" smtClean="0">
                          <a:solidFill>
                            <a:schemeClr val="tx1"/>
                          </a:solidFill>
                        </a:rPr>
                        <a:t>Oversight function of DHA Offices and service delivery</a:t>
                      </a: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378200" y="6301878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7825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57129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sz="2000" b="1" dirty="0" smtClean="0"/>
              <a:t>Immigration Services: Joint operations DHA led</a:t>
            </a:r>
            <a:endParaRPr lang="en-US" sz="2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779222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5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222344"/>
              </p:ext>
            </p:extLst>
          </p:nvPr>
        </p:nvGraphicFramePr>
        <p:xfrm>
          <a:off x="457198" y="1695795"/>
          <a:ext cx="8437420" cy="43904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64414"/>
                <a:gridCol w="1211527"/>
                <a:gridCol w="1589479"/>
                <a:gridCol w="1695797"/>
                <a:gridCol w="1463040"/>
                <a:gridCol w="1413163"/>
              </a:tblGrid>
              <a:tr h="6483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ATE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TRICT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PERATION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TAKEHOLDER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UTCOME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MPACT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80458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/05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ineland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ranschhoek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Business inspection in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partment Home Affairs, Department of Labour and SAP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x arrest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x dockets opened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x release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isibility of immigration and awareness on legislation governing employment of foreign national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374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/07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den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utdshoorn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45720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x foreign owned shops/businesses and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sl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Construction were Visited and searched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APS, Department of Labour (inspectors), Oudtshoorn Municipality (Law Enforcement) and SARS (Customs).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 x arrests 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x dockets were opened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wareness on the legislations that govern employment of foreign national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200" y="931025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The Provincial Immigration Units facilitated  2x DHA led operations  an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Participated in 11 joint operations led by stakehold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4946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92228046"/>
              </p:ext>
            </p:extLst>
          </p:nvPr>
        </p:nvGraphicFramePr>
        <p:xfrm>
          <a:off x="457200" y="881150"/>
          <a:ext cx="8420792" cy="51715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05608"/>
                <a:gridCol w="1105360"/>
                <a:gridCol w="2165875"/>
                <a:gridCol w="1480851"/>
                <a:gridCol w="1194177"/>
                <a:gridCol w="1268921"/>
              </a:tblGrid>
              <a:tr h="72428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DATE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DISTRICT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LACE OF OPERATION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STAKEHOLDER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OUTCOME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PACT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57249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09/05/2017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pe Wineland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</a:rPr>
                        <a:t>Klupmut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SAPS and Dept. of Home Affair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12x arrest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12x dockets opened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S visibility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16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15/05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Overberg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</a:rPr>
                        <a:t>Swellendam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SAPS and Dept. of Home Affair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12x arrest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S visibility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16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16/05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pe Metro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</a:rPr>
                        <a:t>Nyanga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 cluster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Dept. Of Home Affairs and SAP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No arrest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S visibility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16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17/05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pe Metro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</a:rPr>
                        <a:t>Parow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Dept. Of Home Affairs and SAP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No arrest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S visibility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005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17/05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</a:rPr>
                        <a:t>Cape </a:t>
                      </a:r>
                      <a:r>
                        <a:rPr lang="en-US" sz="1200" dirty="0" err="1">
                          <a:solidFill>
                            <a:schemeClr val="tx1"/>
                          </a:solidFill>
                          <a:effectLst/>
                        </a:rPr>
                        <a:t>Wineland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ere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Dept. Of Home Affairs and SAP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7x arrest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Awareness on the legislations that govern employment of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</a:rPr>
                        <a:t>foreign national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005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8/06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entral Karoo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Laingsburg CBD and Farm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9x arrest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Awareness on the legislations that govern employment of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</a:rPr>
                        <a:t>foreign national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95106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6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73507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000" b="1" dirty="0" smtClean="0"/>
              <a:t>Immigration Services: Joint operations DHA led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411369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117069"/>
              </p:ext>
            </p:extLst>
          </p:nvPr>
        </p:nvGraphicFramePr>
        <p:xfrm>
          <a:off x="457200" y="881150"/>
          <a:ext cx="8420792" cy="49101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05608"/>
                <a:gridCol w="1105360"/>
                <a:gridCol w="1820457"/>
                <a:gridCol w="1826269"/>
                <a:gridCol w="1000059"/>
                <a:gridCol w="1463039"/>
              </a:tblGrid>
              <a:tr h="72428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DATE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DISTRICT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PLACE OF OPERATION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STAKEHOLDER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OUTCOME 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PACT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2005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19/06/2017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pe Metro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pe Town</a:t>
                      </a: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nal Walk Spur</a:t>
                      </a: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Melkbostrand  Spur</a:t>
                      </a: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Waterfront Spur</a:t>
                      </a: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Sea Point Spur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Home Affairs and Department of Labour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All foreign nationals were not on duty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Awareness on the legislations that govern employment of foreign national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2005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21/07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Eden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Ladismith</a:t>
                      </a: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Business Inspection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Dept. Of Home Affairs and SAP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No arrest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Awareness on the legislations that govern employment of foreign national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146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26/07/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pe Metro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ape Town</a:t>
                      </a:r>
                    </a:p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Houtbay, Imizamoyethu Informal settlement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Dept. Of Home Affairs and SAP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8 x foreign nationals were arrested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IMS visibility 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16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27.06.2017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Central Karoo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Beaufort West N1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Dept. Of Home Affairs and SAP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2 x arrest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S visibility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169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2017.07.06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effectLst/>
                        </a:rPr>
                        <a:t>Cape </a:t>
                      </a:r>
                      <a:r>
                        <a:rPr lang="en-US" sz="1200" dirty="0" err="1" smtClean="0">
                          <a:solidFill>
                            <a:schemeClr val="tx1"/>
                          </a:solidFill>
                          <a:effectLst/>
                        </a:rPr>
                        <a:t>Winelands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De Doorns CBD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chemeClr val="tx1"/>
                          </a:solidFill>
                          <a:effectLst/>
                        </a:rPr>
                        <a:t>Dept. Of Home Affairs and SAPS</a:t>
                      </a:r>
                      <a:endParaRPr lang="en-US" sz="120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6 x Arrest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effectLst/>
                        </a:rPr>
                        <a:t>IMS visibility</a:t>
                      </a: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0962" marR="3096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779222" y="6079144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7</a:t>
            </a:fld>
            <a:endParaRPr lang="en-US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73507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000" b="1" dirty="0" smtClean="0"/>
              <a:t>Immigration Services: Joint operations DHA led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554807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41791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dirty="0" smtClean="0"/>
              <a:t>Immigration Services Burning issu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156857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93914" y="1094015"/>
            <a:ext cx="853984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Constitutional Court Ruling 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Confirmation of detention for all illegal foreigners detained for deportation must be confirmed within 48 hours</a:t>
            </a:r>
          </a:p>
          <a:p>
            <a:endParaRPr lang="en-US" dirty="0"/>
          </a:p>
          <a:p>
            <a:r>
              <a:rPr lang="en-US" b="1" u="sng" dirty="0" smtClean="0"/>
              <a:t>Operations prior to Constitutional Court Ruling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etention without following a Court process in all cases (Detainee could exercise a choice) </a:t>
            </a:r>
          </a:p>
          <a:p>
            <a:endParaRPr lang="en-US" dirty="0"/>
          </a:p>
          <a:p>
            <a:r>
              <a:rPr lang="en-US" b="1" u="sng" dirty="0" smtClean="0"/>
              <a:t>Impact on current operations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If detention was not confirmed in Court the illegal foreigner (detainee) must be released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Immigration challenged over weekends and Courts to hear cases are limited</a:t>
            </a:r>
          </a:p>
          <a:p>
            <a:endParaRPr lang="en-US" dirty="0"/>
          </a:p>
          <a:p>
            <a:r>
              <a:rPr lang="en-US" b="1" u="sng" dirty="0" smtClean="0"/>
              <a:t>Proposed solution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epartment of Justice to look at dedicating Courts to fast track processes. </a:t>
            </a:r>
          </a:p>
        </p:txBody>
      </p:sp>
    </p:spTree>
    <p:extLst>
      <p:ext uri="{BB962C8B-B14F-4D97-AF65-F5344CB8AC3E}">
        <p14:creationId xmlns:p14="http://schemas.microsoft.com/office/powerpoint/2010/main" val="422271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629" y="274638"/>
            <a:ext cx="8844741" cy="473507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000" b="1" dirty="0" smtClean="0"/>
              <a:t>Outreach Programmes Q1 </a:t>
            </a:r>
            <a:endParaRPr lang="en-US" sz="2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928851" y="635635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39</a:t>
            </a:fld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2267361"/>
              </p:ext>
            </p:extLst>
          </p:nvPr>
        </p:nvGraphicFramePr>
        <p:xfrm>
          <a:off x="149629" y="997989"/>
          <a:ext cx="8844742" cy="463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7564"/>
                <a:gridCol w="6517178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Event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ature of 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Programme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algn="l"/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Fire Disaster –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Imizamo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Yethu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: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Cape Metro 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(March 2017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Waving of fees for birth certificates,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Temporary ID Certificates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600" b="1" u="sng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r>
                        <a:rPr lang="en-US" sz="1600" b="1" u="sng" dirty="0" smtClean="0">
                          <a:solidFill>
                            <a:schemeClr val="tx1"/>
                          </a:solidFill>
                        </a:rPr>
                        <a:t>Impact: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Destitute clients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assisted with  enabling documents: </a:t>
                      </a: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-issue ID applications - 506</a:t>
                      </a:r>
                    </a:p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-issue birth certificates issued - 265</a:t>
                      </a:r>
                    </a:p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mporary ID certificates issued - 68</a:t>
                      </a:r>
                    </a:p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-issue marriage certificates issued - 4</a:t>
                      </a:r>
                    </a:p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-issue death certificates issued - 1</a:t>
                      </a:r>
                    </a:p>
                    <a:p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rth registrations – 4</a:t>
                      </a:r>
                    </a:p>
                    <a:p>
                      <a:endParaRPr lang="en-US" sz="18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Ministerial Outreach  Social Development  -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Langa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–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May 2017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Late Registration of Birth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Han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over of 10 x Birth  Certificates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0463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Box 82"/>
          <p:cNvSpPr txBox="1">
            <a:spLocks noChangeArrowheads="1"/>
          </p:cNvSpPr>
          <p:nvPr/>
        </p:nvSpPr>
        <p:spPr bwMode="auto">
          <a:xfrm>
            <a:off x="0" y="536575"/>
            <a:ext cx="8991600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sz="1600" b="1" dirty="0"/>
              <a:t>1x Metro</a:t>
            </a:r>
            <a:r>
              <a:rPr lang="en-US" sz="1600" dirty="0"/>
              <a:t>: City of Cape Town, </a:t>
            </a:r>
            <a:r>
              <a:rPr lang="en-US" sz="1600" b="1" dirty="0"/>
              <a:t>5 x District Municipalities</a:t>
            </a:r>
            <a:r>
              <a:rPr lang="en-US" sz="1600" dirty="0"/>
              <a:t> (West Coast, Cape </a:t>
            </a:r>
            <a:r>
              <a:rPr lang="en-US" sz="1600" dirty="0" err="1"/>
              <a:t>Winelands</a:t>
            </a:r>
            <a:r>
              <a:rPr lang="en-US" sz="1600" dirty="0"/>
              <a:t>, Central  Karoo, Overberg, Eden)  Reporting to Head Office: </a:t>
            </a:r>
            <a:r>
              <a:rPr lang="en-US" sz="1600" dirty="0" err="1"/>
              <a:t>PoE</a:t>
            </a:r>
            <a:r>
              <a:rPr lang="en-US" sz="1600" dirty="0"/>
              <a:t> : </a:t>
            </a:r>
            <a:r>
              <a:rPr lang="en-US" sz="1600" b="1" dirty="0"/>
              <a:t>3 x Sea Ports</a:t>
            </a:r>
            <a:r>
              <a:rPr lang="en-US" sz="1600" dirty="0"/>
              <a:t>: Cape Town, </a:t>
            </a:r>
            <a:r>
              <a:rPr lang="en-US" sz="1600" dirty="0" err="1"/>
              <a:t>Saldanha</a:t>
            </a:r>
            <a:r>
              <a:rPr lang="en-US" sz="1600" dirty="0"/>
              <a:t>, </a:t>
            </a:r>
            <a:r>
              <a:rPr lang="en-US" sz="1600" dirty="0" err="1"/>
              <a:t>Mosselbay</a:t>
            </a:r>
            <a:r>
              <a:rPr lang="en-US" sz="1600" dirty="0"/>
              <a:t>, </a:t>
            </a:r>
            <a:r>
              <a:rPr lang="en-US" sz="1600" b="1" dirty="0"/>
              <a:t>1x Land Port, 1 x International Airport – Cape Town (National key point), Refugee Reception Centre directly to Pretoria.</a:t>
            </a:r>
            <a:endParaRPr lang="en-US" sz="1600" dirty="0"/>
          </a:p>
        </p:txBody>
      </p:sp>
      <p:sp>
        <p:nvSpPr>
          <p:cNvPr id="6147" name="Title 2"/>
          <p:cNvSpPr>
            <a:spLocks noGrp="1"/>
          </p:cNvSpPr>
          <p:nvPr>
            <p:ph type="title"/>
          </p:nvPr>
        </p:nvSpPr>
        <p:spPr>
          <a:xfrm>
            <a:off x="246063" y="119063"/>
            <a:ext cx="8647112" cy="249237"/>
          </a:xfrm>
          <a:solidFill>
            <a:srgbClr val="92D050"/>
          </a:solidFill>
        </p:spPr>
        <p:txBody>
          <a:bodyPr lIns="91440" tIns="45720" rIns="91440" bIns="45720">
            <a:normAutofit fontScale="90000"/>
          </a:bodyPr>
          <a:lstStyle/>
          <a:p>
            <a:r>
              <a:rPr lang="en-US" sz="1800" b="1" dirty="0" smtClean="0"/>
              <a:t>Geographical</a:t>
            </a:r>
            <a:r>
              <a:rPr lang="en-US" sz="1800" dirty="0" smtClean="0"/>
              <a:t> outlay of Western Cape Province </a:t>
            </a:r>
            <a:endParaRPr lang="en-ZA" sz="1800" dirty="0" smtClean="0"/>
          </a:p>
        </p:txBody>
      </p:sp>
      <p:pic>
        <p:nvPicPr>
          <p:cNvPr id="6148" name="Picture 8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63" y="1609725"/>
            <a:ext cx="8872537" cy="427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822700" y="633730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920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629" y="274638"/>
            <a:ext cx="8844741" cy="473507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000" b="1" dirty="0" smtClean="0"/>
              <a:t>Outreach Programmes Q1 Continued  </a:t>
            </a:r>
            <a:endParaRPr lang="en-US" sz="2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944585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0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022182"/>
              </p:ext>
            </p:extLst>
          </p:nvPr>
        </p:nvGraphicFramePr>
        <p:xfrm>
          <a:off x="149629" y="876492"/>
          <a:ext cx="8844742" cy="3745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27564"/>
                <a:gridCol w="6517178"/>
              </a:tblGrid>
              <a:tr h="392585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Event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Nature of 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Programme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587115">
                <a:tc>
                  <a:txBody>
                    <a:bodyPr/>
                    <a:lstStyle/>
                    <a:p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Sinenjongo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 Primary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School- June 2017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wareness  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on DHA service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Hand over of  sanitary pads  to girl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25181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Fire Disaster –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Knysna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Emergency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Thusong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Outreach for Fire Victims of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Knysna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600" dirty="0" err="1" smtClean="0">
                          <a:solidFill>
                            <a:schemeClr val="tx1"/>
                          </a:solidFill>
                        </a:rPr>
                        <a:t>Bitou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Municipalities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Municipality sponsored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clients</a:t>
                      </a: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US" sz="1600" b="1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600" b="1" dirty="0" smtClean="0">
                          <a:solidFill>
                            <a:schemeClr val="tx1"/>
                          </a:solidFill>
                        </a:rPr>
                        <a:t>Impact:</a:t>
                      </a:r>
                    </a:p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5 Officials deployed</a:t>
                      </a:r>
                    </a:p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88 Smart ID Card applications processed</a:t>
                      </a:r>
                    </a:p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27 Birth certificate re-issues</a:t>
                      </a:r>
                    </a:p>
                    <a:p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4 Marriage certificate re-issues</a:t>
                      </a:r>
                    </a:p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911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098577" y="6190116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1</a:t>
            </a:fld>
            <a:endParaRPr lang="en-US" dirty="0"/>
          </a:p>
        </p:txBody>
      </p:sp>
      <p:pic>
        <p:nvPicPr>
          <p:cNvPr id="2050" name="Picture 2" descr="C:\Users\ALLUSE~1.ALL\AppData\Local\Temp\XPgrpwise\IMG-20170620-WA000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496289"/>
            <a:ext cx="3181004" cy="2385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73755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r>
              <a:rPr lang="en-US" sz="2000" b="1" dirty="0" smtClean="0"/>
              <a:t>Outreach Programmes Q1 Continued  </a:t>
            </a:r>
            <a:endParaRPr lang="en-US" sz="2000" b="1" dirty="0"/>
          </a:p>
        </p:txBody>
      </p:sp>
      <p:pic>
        <p:nvPicPr>
          <p:cNvPr id="2051" name="Picture 3" descr="C:\Users\ALLUSE~1.ALL\AppData\Local\Temp\XPgrpwise\IMG-20170620-WA0003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4036349"/>
            <a:ext cx="3181004" cy="154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ALLUSE~1.ALL\AppData\Local\Temp\XPgrpwise\IMG-20170530-WA0009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6674" y="1762296"/>
            <a:ext cx="3253052" cy="3045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57200" y="995741"/>
            <a:ext cx="27402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 smtClean="0"/>
              <a:t>Sinenjongo</a:t>
            </a:r>
            <a:r>
              <a:rPr lang="en-US" b="1" dirty="0" smtClean="0"/>
              <a:t> Primary School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926674" y="1315193"/>
            <a:ext cx="28225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Ministerial Outreach: </a:t>
            </a:r>
            <a:r>
              <a:rPr lang="en-US" b="1" dirty="0" err="1" smtClean="0"/>
              <a:t>Langa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765649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560638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Progress in relation to Q1 2017/2018 APP Target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857500" y="5991225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899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148" y="135823"/>
            <a:ext cx="8647112" cy="60993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endParaRPr lang="en-ZA" sz="2400" b="1" dirty="0">
              <a:solidFill>
                <a:srgbClr val="00B050"/>
              </a:solidFill>
            </a:endParaRPr>
          </a:p>
          <a:p>
            <a:pPr marL="0" lvl="0" indent="0"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US" altLang="en-US" sz="8000" b="1" dirty="0" smtClean="0">
                <a:latin typeface="Arial" charset="0"/>
              </a:rPr>
              <a:t>OVERVIEW ANALYSIS: Q1 2017/2018 PERFORMANCE </a:t>
            </a:r>
            <a:endParaRPr lang="en-US" altLang="en-US" sz="8000" b="1" dirty="0"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6400" b="1" dirty="0"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US" altLang="en-US" sz="6400" b="1" dirty="0" smtClean="0">
                <a:latin typeface="Arial" charset="0"/>
              </a:rPr>
              <a:t>During the 2016/2017 Financial Year the WC Province was the only Province to achieve all its strategic targets:</a:t>
            </a: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6400" b="1" dirty="0"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6400" b="1" dirty="0" smtClean="0">
              <a:latin typeface="Arial" charset="0"/>
            </a:endParaRPr>
          </a:p>
          <a:p>
            <a:pPr marL="914400" lvl="0" indent="-91440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AutoNum type="arabicParenR"/>
              <a:defRPr/>
            </a:pPr>
            <a:r>
              <a:rPr lang="en-US" altLang="en-US" sz="6400" dirty="0" smtClean="0">
                <a:solidFill>
                  <a:srgbClr val="000000"/>
                </a:solidFill>
                <a:latin typeface="Arial" charset="0"/>
              </a:rPr>
              <a:t>Birth Registration within 30 days, </a:t>
            </a:r>
          </a:p>
          <a:p>
            <a:pPr marL="914400" lvl="0" indent="-91440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AutoNum type="arabicParenR"/>
              <a:defRPr/>
            </a:pPr>
            <a:r>
              <a:rPr lang="en-US" altLang="en-US" sz="6400" dirty="0" smtClean="0">
                <a:solidFill>
                  <a:srgbClr val="000000"/>
                </a:solidFill>
                <a:latin typeface="Arial" charset="0"/>
              </a:rPr>
              <a:t>ID Smart Card issued to clients, </a:t>
            </a:r>
          </a:p>
          <a:p>
            <a:pPr marL="914400" lvl="0" indent="-91440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AutoNum type="arabicParenR"/>
              <a:defRPr/>
            </a:pPr>
            <a:r>
              <a:rPr lang="en-US" altLang="en-US" sz="6400" dirty="0" smtClean="0">
                <a:solidFill>
                  <a:srgbClr val="000000"/>
                </a:solidFill>
                <a:latin typeface="Arial" charset="0"/>
              </a:rPr>
              <a:t>100% Payment of invoices within 30 day for 12 months. </a:t>
            </a:r>
            <a:endParaRPr lang="en-US" altLang="en-US" sz="6400" dirty="0">
              <a:solidFill>
                <a:srgbClr val="000000"/>
              </a:solidFill>
              <a:latin typeface="Arial" charset="0"/>
            </a:endParaRPr>
          </a:p>
          <a:p>
            <a:pPr marL="0" indent="0">
              <a:buNone/>
            </a:pPr>
            <a:endParaRPr lang="en-ZA" sz="64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46063" y="941696"/>
            <a:ext cx="8647112" cy="49814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en-ZA" sz="1600" b="1" dirty="0" smtClean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ZA" sz="1200" b="1" dirty="0">
              <a:solidFill>
                <a:prstClr val="black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436019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530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148" y="135823"/>
            <a:ext cx="8647112" cy="609932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25000" lnSpcReduction="20000"/>
          </a:bodyPr>
          <a:lstStyle/>
          <a:p>
            <a:pPr marL="0" indent="0" algn="ctr">
              <a:buNone/>
            </a:pPr>
            <a:endParaRPr lang="en-ZA" sz="2400" b="1" dirty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 marL="0" lvl="0" indent="0"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US" altLang="en-US" sz="5600" b="1" dirty="0" smtClean="0">
                <a:latin typeface="Arial" charset="0"/>
              </a:rPr>
              <a:t>OVERVIEW ANALYSIS Q 1: 2017/2018</a:t>
            </a:r>
            <a:endParaRPr lang="en-US" altLang="en-US" sz="5600" b="1" dirty="0"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1300" b="1" dirty="0" smtClean="0">
              <a:solidFill>
                <a:srgbClr val="FF0000"/>
              </a:solidFill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r>
              <a:rPr lang="en-US" altLang="en-US" sz="1300" b="1" dirty="0" smtClean="0">
                <a:solidFill>
                  <a:srgbClr val="FF0000"/>
                </a:solidFill>
                <a:latin typeface="Arial" charset="0"/>
              </a:rPr>
              <a:t>\\</a:t>
            </a:r>
            <a:endParaRPr lang="en-US" altLang="en-US" sz="1300" b="1" dirty="0">
              <a:solidFill>
                <a:srgbClr val="FF0000"/>
              </a:solidFill>
              <a:latin typeface="Arial" charset="0"/>
            </a:endParaRPr>
          </a:p>
          <a:p>
            <a:pPr marL="0" lvl="0" indent="0" algn="ctr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US" altLang="en-US" sz="6400" b="1" dirty="0" smtClean="0">
                <a:latin typeface="Arial" charset="0"/>
              </a:rPr>
              <a:t>Executive </a:t>
            </a:r>
            <a:r>
              <a:rPr lang="en-US" altLang="en-US" sz="6400" b="1" dirty="0">
                <a:latin typeface="Arial" charset="0"/>
              </a:rPr>
              <a:t>Summary</a:t>
            </a: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ZA" altLang="en-US" sz="5600" b="1" dirty="0" smtClean="0">
                <a:latin typeface="Arial" charset="0"/>
              </a:rPr>
              <a:t>PROGRESS </a:t>
            </a:r>
            <a:r>
              <a:rPr lang="en-ZA" altLang="en-US" sz="5600" b="1" dirty="0">
                <a:latin typeface="Arial" charset="0"/>
              </a:rPr>
              <a:t>TOWARDS ACHIEVING STRATEGIC OBJECTIVES QUARTER 1 PERFORMANCE</a:t>
            </a: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 smtClean="0">
              <a:latin typeface="Arial" charset="0"/>
            </a:endParaRPr>
          </a:p>
          <a:p>
            <a:pPr lvl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Tx/>
              <a:buAutoNum type="arabicPeriod"/>
              <a:defRPr/>
            </a:pPr>
            <a:endParaRPr lang="en-US" altLang="en-US" sz="1300" b="1" dirty="0"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US" altLang="en-US" sz="5600" b="1" dirty="0" smtClean="0">
                <a:latin typeface="Arial" charset="0"/>
              </a:rPr>
              <a:t>WC Province </a:t>
            </a:r>
            <a:r>
              <a:rPr lang="en-US" altLang="en-US" sz="5600" b="1" dirty="0">
                <a:latin typeface="Arial" charset="0"/>
              </a:rPr>
              <a:t>achieved </a:t>
            </a:r>
            <a:r>
              <a:rPr lang="en-US" altLang="en-US" sz="5600" b="1" dirty="0" smtClean="0">
                <a:latin typeface="Arial" charset="0"/>
              </a:rPr>
              <a:t>5 </a:t>
            </a:r>
            <a:r>
              <a:rPr lang="en-US" altLang="en-US" sz="5600" b="1" dirty="0">
                <a:latin typeface="Arial" charset="0"/>
              </a:rPr>
              <a:t>out of </a:t>
            </a:r>
            <a:r>
              <a:rPr lang="en-US" altLang="en-US" sz="5600" b="1" dirty="0" smtClean="0">
                <a:latin typeface="Arial" charset="0"/>
              </a:rPr>
              <a:t>the 8 </a:t>
            </a:r>
            <a:r>
              <a:rPr lang="en-US" altLang="en-US" sz="5600" b="1" dirty="0">
                <a:latin typeface="Arial" charset="0"/>
              </a:rPr>
              <a:t>targets </a:t>
            </a:r>
            <a:r>
              <a:rPr lang="en-US" altLang="en-US" sz="5600" b="1" dirty="0" smtClean="0">
                <a:latin typeface="Arial" charset="0"/>
              </a:rPr>
              <a:t>(62.5%) </a:t>
            </a:r>
            <a:r>
              <a:rPr lang="en-US" altLang="en-US" sz="5600" b="1" dirty="0">
                <a:latin typeface="Arial" charset="0"/>
              </a:rPr>
              <a:t>for Quarter 1:</a:t>
            </a: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 smtClean="0">
                <a:latin typeface="Arial" pitchFamily="34" charset="0"/>
                <a:cs typeface="Arial" pitchFamily="34" charset="0"/>
              </a:rPr>
              <a:t>100</a:t>
            </a:r>
            <a:r>
              <a:rPr lang="en-US" altLang="en-US" sz="5600" dirty="0">
                <a:latin typeface="Arial" pitchFamily="34" charset="0"/>
                <a:cs typeface="Arial" pitchFamily="34" charset="0"/>
              </a:rPr>
              <a:t>% Of detected employers in contravention of the Immigration Act (Act 13 of 2002) charged</a:t>
            </a: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>
                <a:latin typeface="Arial" pitchFamily="34" charset="0"/>
                <a:cs typeface="Arial" pitchFamily="34" charset="0"/>
              </a:rPr>
              <a:t>100% Of detected transgressors in contravention of the Immigration Act (Act 13 of 2002) charged </a:t>
            </a: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>
                <a:latin typeface="Arial" pitchFamily="34" charset="0"/>
                <a:cs typeface="Arial" pitchFamily="34" charset="0"/>
              </a:rPr>
              <a:t>100% Of Undocumented foreigners deported within 30 calendar days</a:t>
            </a: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>
                <a:latin typeface="Arial" pitchFamily="34" charset="0"/>
                <a:cs typeface="Arial" pitchFamily="34" charset="0"/>
              </a:rPr>
              <a:t>100% Of Detected undocumented foreigners transferred to Lindela within 20  calendar days</a:t>
            </a: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>
                <a:latin typeface="Arial" pitchFamily="34" charset="0"/>
                <a:cs typeface="Arial" pitchFamily="34" charset="0"/>
              </a:rPr>
              <a:t>80% of Detected fraudulent marriages &amp; marriage of convenience cases finalised  </a:t>
            </a:r>
            <a:r>
              <a:rPr lang="en-US" altLang="en-US" sz="5600" i="1" dirty="0">
                <a:latin typeface="Arial" pitchFamily="34" charset="0"/>
                <a:cs typeface="Arial" pitchFamily="34" charset="0"/>
              </a:rPr>
              <a:t>(investigation and recommendation submitted) </a:t>
            </a:r>
            <a:r>
              <a:rPr lang="en-US" altLang="en-US" sz="5600" dirty="0">
                <a:latin typeface="Arial" pitchFamily="34" charset="0"/>
                <a:cs typeface="Arial" pitchFamily="34" charset="0"/>
              </a:rPr>
              <a:t>within 60 </a:t>
            </a:r>
            <a:r>
              <a:rPr lang="en-US" altLang="en-US" sz="5600" dirty="0" smtClean="0">
                <a:latin typeface="Arial" pitchFamily="34" charset="0"/>
                <a:cs typeface="Arial" pitchFamily="34" charset="0"/>
              </a:rPr>
              <a:t>days</a:t>
            </a:r>
          </a:p>
          <a:p>
            <a:pPr marL="457200" lvl="1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5600" dirty="0">
              <a:latin typeface="Arial" pitchFamily="34" charset="0"/>
              <a:cs typeface="Arial" pitchFamily="34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r>
              <a:rPr lang="en-US" altLang="en-US" sz="5600" b="1" dirty="0" smtClean="0">
                <a:latin typeface="Arial" charset="0"/>
              </a:rPr>
              <a:t>Three targets that were </a:t>
            </a:r>
            <a:r>
              <a:rPr lang="en-US" altLang="en-US" sz="5600" b="1" dirty="0">
                <a:latin typeface="Arial" charset="0"/>
              </a:rPr>
              <a:t>not achieved </a:t>
            </a:r>
            <a:r>
              <a:rPr lang="en-US" altLang="en-US" sz="5600" b="1" dirty="0" smtClean="0">
                <a:latin typeface="Arial" charset="0"/>
              </a:rPr>
              <a:t>(37.5%):</a:t>
            </a: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>
                <a:solidFill>
                  <a:prstClr val="black"/>
                </a:solidFill>
                <a:latin typeface="Arial" charset="0"/>
              </a:rPr>
              <a:t>Birth Registration within 30 calendar </a:t>
            </a:r>
            <a:r>
              <a:rPr lang="en-US" altLang="en-US" sz="5600" dirty="0" smtClean="0">
                <a:solidFill>
                  <a:prstClr val="black"/>
                </a:solidFill>
                <a:latin typeface="Arial" charset="0"/>
              </a:rPr>
              <a:t>days</a:t>
            </a: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mart ID Cards issued (received at offices) to </a:t>
            </a:r>
            <a:r>
              <a:rPr lang="en-US" altLang="en-US" sz="56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,200,000 citizens</a:t>
            </a:r>
            <a:endParaRPr lang="en-US" altLang="en-US" sz="5600" b="1" dirty="0">
              <a:latin typeface="Arial" charset="0"/>
            </a:endParaRPr>
          </a:p>
          <a:p>
            <a:pPr lvl="1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Font typeface="Wingdings" pitchFamily="2" charset="2"/>
              <a:buChar char="ü"/>
              <a:defRPr/>
            </a:pPr>
            <a:r>
              <a:rPr lang="en-US" altLang="en-US" sz="5600" dirty="0" smtClean="0">
                <a:latin typeface="Arial" pitchFamily="34" charset="0"/>
                <a:cs typeface="Arial" pitchFamily="34" charset="0"/>
              </a:rPr>
              <a:t>100</a:t>
            </a:r>
            <a:r>
              <a:rPr lang="en-US" altLang="en-US" sz="5600" dirty="0">
                <a:latin typeface="Arial" pitchFamily="34" charset="0"/>
                <a:cs typeface="Arial" pitchFamily="34" charset="0"/>
              </a:rPr>
              <a:t>% of valid invoices settled within 30 days of certification</a:t>
            </a:r>
            <a:endParaRPr lang="en-US" altLang="en-US" sz="5600" dirty="0">
              <a:latin typeface="Arial" charset="0"/>
            </a:endParaRPr>
          </a:p>
          <a:p>
            <a:pPr marL="0" lvl="0" indent="0" defTabSz="914400" fontAlgn="base">
              <a:spcBef>
                <a:spcPct val="50000"/>
              </a:spcBef>
              <a:spcAft>
                <a:spcPct val="0"/>
              </a:spcAft>
              <a:buClr>
                <a:srgbClr val="7D0900"/>
              </a:buClr>
              <a:buNone/>
              <a:defRPr/>
            </a:pPr>
            <a:endParaRPr lang="en-US" altLang="en-US" sz="5600" b="1" dirty="0">
              <a:solidFill>
                <a:srgbClr val="000000"/>
              </a:solidFill>
              <a:latin typeface="Arial" charset="0"/>
            </a:endParaRPr>
          </a:p>
          <a:p>
            <a:pPr marL="0" indent="0">
              <a:buNone/>
            </a:pPr>
            <a:endParaRPr lang="en-ZA" sz="5600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46063" y="941696"/>
            <a:ext cx="8647112" cy="49814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endParaRPr lang="en-ZA" sz="1600" b="1" dirty="0" smtClean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ZA" sz="1200" b="1" dirty="0">
              <a:solidFill>
                <a:prstClr val="black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2317557"/>
              </p:ext>
            </p:extLst>
          </p:nvPr>
        </p:nvGraphicFramePr>
        <p:xfrm>
          <a:off x="333148" y="900983"/>
          <a:ext cx="8429859" cy="635717"/>
        </p:xfrm>
        <a:graphic>
          <a:graphicData uri="http://schemas.openxmlformats.org/drawingml/2006/table">
            <a:tbl>
              <a:tblPr/>
              <a:tblGrid>
                <a:gridCol w="4281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148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871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612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32382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78505">
                <a:tc>
                  <a:txBody>
                    <a:bodyPr/>
                    <a:lstStyle/>
                    <a:p>
                      <a:pPr algn="l" fontAlgn="b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197" marR="8197" marT="8197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eview Period</a:t>
                      </a: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A5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otal Quarterly Targets</a:t>
                      </a: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D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chieved</a:t>
                      </a: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Not Achieved</a:t>
                      </a: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7212">
                <a:tc>
                  <a:txBody>
                    <a:bodyPr/>
                    <a:lstStyle/>
                    <a:p>
                      <a:pPr algn="l" fontAlgn="b"/>
                      <a:endParaRPr lang="en-ZA" sz="9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197" marR="8197" marT="8197" marB="0" anchor="b">
                    <a:lnL>
                      <a:noFill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Q 1</a:t>
                      </a: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A5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4BD9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en-ZA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en-ZA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8197" marR="8197" marT="8197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436019" y="620553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91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4" y="125439"/>
            <a:ext cx="8647112" cy="425706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altLang="en-US" sz="1600" b="1" dirty="0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Births </a:t>
            </a:r>
            <a:r>
              <a:rPr lang="en-US" altLang="en-US" sz="1600" b="1" dirty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registered within 30 calendar </a:t>
            </a:r>
            <a:r>
              <a:rPr lang="en-US" altLang="en-US" sz="1600" b="1" dirty="0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days: Q1 2017/2018  </a:t>
            </a:r>
            <a:endParaRPr lang="en-ZA" sz="2400" b="1" dirty="0" smtClean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>
              <a:solidFill>
                <a:srgbClr val="00B050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ZA" sz="1200" b="1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499767"/>
              </p:ext>
            </p:extLst>
          </p:nvPr>
        </p:nvGraphicFramePr>
        <p:xfrm>
          <a:off x="365763" y="3864022"/>
          <a:ext cx="8644979" cy="994987"/>
        </p:xfrm>
        <a:graphic>
          <a:graphicData uri="http://schemas.openxmlformats.org/drawingml/2006/table">
            <a:tbl>
              <a:tblPr/>
              <a:tblGrid>
                <a:gridCol w="14070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871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5763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7903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2291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99125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455274"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nnual </a:t>
                      </a:r>
                    </a:p>
                  </a:txBody>
                  <a:tcPr marL="8927" marR="8927" marT="89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rget</a:t>
                      </a:r>
                    </a:p>
                  </a:txBody>
                  <a:tcPr marL="8927" marR="8927" marT="89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tual </a:t>
                      </a:r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rformance (2016/17)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927" marR="8927" marT="89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tual </a:t>
                      </a:r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rformance</a:t>
                      </a:r>
                    </a:p>
                    <a:p>
                      <a:pPr algn="ctr" rtl="0" fontAlgn="t"/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2017/18)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927" marR="8927" marT="89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riance</a:t>
                      </a:r>
                    </a:p>
                  </a:txBody>
                  <a:tcPr marL="8927" marR="8927" marT="89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</a:t>
                      </a:r>
                    </a:p>
                  </a:txBody>
                  <a:tcPr marL="8927" marR="8927" marT="8927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7420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effectLst/>
                          <a:latin typeface="Arial"/>
                        </a:rPr>
                        <a:t>808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effectLst/>
                          <a:latin typeface="Arial"/>
                        </a:rPr>
                        <a:t>207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 645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927" marR="8927" marT="89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effectLst/>
                          <a:latin typeface="Arial"/>
                        </a:rPr>
                        <a:t>20 791</a:t>
                      </a:r>
                      <a:endParaRPr lang="en-ZA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(6)</a:t>
                      </a:r>
                      <a:endParaRPr lang="en-ZA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9.97%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927" marR="8927" marT="892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840450" y="3512182"/>
            <a:ext cx="317029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smtClean="0">
                <a:solidFill>
                  <a:srgbClr val="FF0000"/>
                </a:solidFill>
              </a:rPr>
              <a:t> NOT ACHIEVED Q1 2017/2018</a:t>
            </a:r>
            <a:endParaRPr lang="en-ZA" sz="1200" b="1" dirty="0">
              <a:solidFill>
                <a:srgbClr val="FF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7305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5</a:t>
            </a:fld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8600519"/>
              </p:ext>
            </p:extLst>
          </p:nvPr>
        </p:nvGraphicFramePr>
        <p:xfrm>
          <a:off x="211540" y="1384849"/>
          <a:ext cx="8703860" cy="143216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48472"/>
                <a:gridCol w="648472"/>
                <a:gridCol w="648472"/>
                <a:gridCol w="648472"/>
                <a:gridCol w="648472"/>
                <a:gridCol w="648472"/>
                <a:gridCol w="648472"/>
                <a:gridCol w="648472"/>
                <a:gridCol w="648472"/>
                <a:gridCol w="648472"/>
                <a:gridCol w="853429"/>
                <a:gridCol w="585305"/>
                <a:gridCol w="780406"/>
              </a:tblGrid>
              <a:tr h="1004663">
                <a:tc>
                  <a:txBody>
                    <a:bodyPr/>
                    <a:lstStyle/>
                    <a:p>
                      <a:pPr algn="l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l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Province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T 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2016/17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1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1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2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2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3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3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4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4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nnual</a:t>
                      </a:r>
                      <a:r>
                        <a:rPr lang="en-GB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 Performance 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Varianc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Percentag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334889">
                <a:tc>
                  <a:txBody>
                    <a:bodyPr/>
                    <a:lstStyle/>
                    <a:p>
                      <a:pPr lvl="0" algn="l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WC</a:t>
                      </a:r>
                    </a:p>
                  </a:txBody>
                  <a:tcPr marL="9525" marR="9525" marT="9525" marB="0" anchor="ctr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,891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13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,64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Arial Narrow" panose="020B0606020202030204" pitchFamily="34" charset="0"/>
                        </a:rPr>
                        <a:t>   19,958</a:t>
                      </a:r>
                      <a:endParaRPr lang="en-ZA" sz="1200" dirty="0">
                        <a:latin typeface="Arial Narrow" panose="020B0606020202030204" pitchFamily="34" charset="0"/>
                      </a:endParaRPr>
                    </a:p>
                  </a:txBody>
                  <a:tcPr marL="857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 smtClean="0">
                          <a:latin typeface="Arial Narrow" panose="020B0606020202030204" pitchFamily="34" charset="0"/>
                        </a:rPr>
                        <a:t>19,915</a:t>
                      </a:r>
                      <a:endParaRPr lang="en-ZA" sz="1200" dirty="0">
                        <a:latin typeface="Arial Narrow" panose="020B0606020202030204" pitchFamily="34" charset="0"/>
                      </a:endParaRPr>
                    </a:p>
                  </a:txBody>
                  <a:tcPr marL="857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20,405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itchFamily="34" charset="0"/>
                        </a:rPr>
                        <a:t>18,698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/>
                        </a:rPr>
                        <a:t>20395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271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197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82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1%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722884" y="1003340"/>
            <a:ext cx="3170292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smtClean="0">
                <a:solidFill>
                  <a:srgbClr val="FF0000"/>
                </a:solidFill>
              </a:rPr>
              <a:t> </a:t>
            </a:r>
            <a:r>
              <a:rPr lang="en-ZA" sz="1200" b="1" dirty="0" smtClean="0">
                <a:solidFill>
                  <a:srgbClr val="00B050"/>
                </a:solidFill>
              </a:rPr>
              <a:t>ACHIEVED 2016/2017 </a:t>
            </a:r>
            <a:endParaRPr lang="en-ZA" sz="12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720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4" y="125439"/>
            <a:ext cx="8647112" cy="425706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altLang="en-US" sz="1600" b="1" dirty="0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Births </a:t>
            </a:r>
            <a:r>
              <a:rPr lang="en-US" altLang="en-US" sz="1600" b="1" dirty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registered within 30 calendar </a:t>
            </a:r>
            <a:r>
              <a:rPr lang="en-US" altLang="en-US" sz="1600" b="1" dirty="0" smtClean="0">
                <a:solidFill>
                  <a:prstClr val="black"/>
                </a:solidFill>
                <a:latin typeface="Arial" pitchFamily="34" charset="0"/>
                <a:ea typeface="+mj-ea"/>
                <a:cs typeface="Arial" pitchFamily="34" charset="0"/>
              </a:rPr>
              <a:t>days: Q1  </a:t>
            </a:r>
            <a:endParaRPr lang="en-ZA" sz="2400" b="1" dirty="0" smtClean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 marL="0" indent="0" algn="ctr">
              <a:buNone/>
            </a:pPr>
            <a:endParaRPr lang="en-ZA" sz="2400" b="1" dirty="0">
              <a:solidFill>
                <a:srgbClr val="00B050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ZA" sz="1200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46063" y="736981"/>
            <a:ext cx="8647112" cy="51452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ZA" sz="1600" dirty="0" smtClean="0"/>
          </a:p>
          <a:p>
            <a:pPr marL="0" indent="0">
              <a:buNone/>
            </a:pPr>
            <a:endParaRPr lang="en-ZA" sz="1600" b="1" dirty="0" smtClean="0"/>
          </a:p>
          <a:p>
            <a:pPr marL="0" indent="0" algn="ctr">
              <a:buFont typeface="Arial"/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ZA" sz="12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840450" y="2449691"/>
            <a:ext cx="3170292" cy="27699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smtClean="0">
                <a:solidFill>
                  <a:srgbClr val="FF0000"/>
                </a:solidFill>
              </a:rPr>
              <a:t> NOT ACHIEVED</a:t>
            </a:r>
            <a:endParaRPr lang="en-ZA" sz="1200" b="1" dirty="0">
              <a:solidFill>
                <a:srgbClr val="FF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46064" y="1021723"/>
            <a:ext cx="8647111" cy="437042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b="1" u="sng" dirty="0" smtClean="0">
                <a:latin typeface="Arial" pitchFamily="34" charset="0"/>
                <a:cs typeface="Arial" pitchFamily="34" charset="0"/>
              </a:rPr>
              <a:t>Strategies were implemented: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Additional resources  deployed to high volume health facilities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All available resources withdrawn from back office operations and directed to birth registration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Increased capacity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with the deployment of: 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  <a:defRPr/>
            </a:pPr>
            <a:r>
              <a:rPr lang="en-ZA" sz="1400" dirty="0" smtClean="0">
                <a:latin typeface="Arial" pitchFamily="34" charset="0"/>
                <a:cs typeface="Arial" pitchFamily="34" charset="0"/>
              </a:rPr>
              <a:t>16 Work Exposure Learners (</a:t>
            </a:r>
            <a:r>
              <a:rPr lang="en-ZA" sz="1400" dirty="0">
                <a:latin typeface="Arial" pitchFamily="34" charset="0"/>
                <a:cs typeface="Arial" pitchFamily="34" charset="0"/>
              </a:rPr>
              <a:t>assumed duty 01/02/2017) trained on completion of </a:t>
            </a:r>
            <a:r>
              <a:rPr lang="en-ZA" sz="1400" dirty="0" smtClean="0">
                <a:latin typeface="Arial" pitchFamily="34" charset="0"/>
                <a:cs typeface="Arial" pitchFamily="34" charset="0"/>
              </a:rPr>
              <a:t>birth registration forms and </a:t>
            </a:r>
            <a:r>
              <a:rPr lang="en-ZA" sz="1400" dirty="0">
                <a:latin typeface="Arial" pitchFamily="34" charset="0"/>
                <a:cs typeface="Arial" pitchFamily="34" charset="0"/>
              </a:rPr>
              <a:t>deployed at </a:t>
            </a:r>
            <a:r>
              <a:rPr lang="en-ZA" sz="1400" dirty="0" smtClean="0">
                <a:latin typeface="Arial" pitchFamily="34" charset="0"/>
                <a:cs typeface="Arial" pitchFamily="34" charset="0"/>
              </a:rPr>
              <a:t>high volume health facilities</a:t>
            </a:r>
          </a:p>
          <a:p>
            <a:pPr lvl="1">
              <a:defRPr/>
            </a:pPr>
            <a:endParaRPr lang="en-ZA" sz="1400" dirty="0"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  <a:defRPr/>
            </a:pPr>
            <a:r>
              <a:rPr lang="en-ZA" sz="1400" dirty="0">
                <a:latin typeface="Arial" pitchFamily="34" charset="0"/>
                <a:cs typeface="Arial" pitchFamily="34" charset="0"/>
              </a:rPr>
              <a:t>Staff </a:t>
            </a:r>
            <a:r>
              <a:rPr lang="en-ZA" sz="1400" dirty="0" smtClean="0">
                <a:latin typeface="Arial" pitchFamily="34" charset="0"/>
                <a:cs typeface="Arial" pitchFamily="34" charset="0"/>
              </a:rPr>
              <a:t>required to report </a:t>
            </a:r>
            <a:r>
              <a:rPr lang="en-ZA" sz="1400" dirty="0">
                <a:latin typeface="Arial" pitchFamily="34" charset="0"/>
                <a:cs typeface="Arial" pitchFamily="34" charset="0"/>
              </a:rPr>
              <a:t>directly to Health </a:t>
            </a:r>
            <a:r>
              <a:rPr lang="en-ZA" sz="1400" dirty="0" smtClean="0">
                <a:latin typeface="Arial" pitchFamily="34" charset="0"/>
                <a:cs typeface="Arial" pitchFamily="34" charset="0"/>
              </a:rPr>
              <a:t>Facilities</a:t>
            </a:r>
          </a:p>
          <a:p>
            <a:pPr lvl="1">
              <a:defRPr/>
            </a:pPr>
            <a:endParaRPr lang="en-ZA" sz="1400" dirty="0">
              <a:latin typeface="Arial" pitchFamily="34" charset="0"/>
              <a:cs typeface="Arial" pitchFamily="34" charset="0"/>
            </a:endParaRPr>
          </a:p>
          <a:p>
            <a:pPr marL="742950" lvl="1" indent="-285750">
              <a:buFont typeface="Arial" pitchFamily="34" charset="0"/>
              <a:buChar char="•"/>
              <a:defRPr/>
            </a:pPr>
            <a:r>
              <a:rPr lang="en-ZA" sz="1400" dirty="0">
                <a:latin typeface="Arial" pitchFamily="34" charset="0"/>
                <a:cs typeface="Arial" pitchFamily="34" charset="0"/>
              </a:rPr>
              <a:t>All secretaries and back office staff engaged in phoning and tracing mothers from Hospital Registers </a:t>
            </a:r>
          </a:p>
          <a:p>
            <a:pPr lvl="2">
              <a:defRPr/>
            </a:pP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Transport </a:t>
            </a:r>
          </a:p>
          <a:p>
            <a:pPr marL="742950" lvl="1" indent="-285750">
              <a:buFont typeface="Arial" pitchFamily="34" charset="0"/>
              <a:buChar char="•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2 x vehicles prioritized from Provincial Office and 1x from West Coast to support Cape Metro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Offices</a:t>
            </a:r>
          </a:p>
          <a:p>
            <a:pPr lvl="1">
              <a:defRPr/>
            </a:pP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lvl="1">
              <a:defRPr/>
            </a:pP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Arial" pitchFamily="34" charset="0"/>
              <a:buChar char="•"/>
            </a:pPr>
            <a:endParaRPr lang="en-US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7305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585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ChangeArrowheads="1"/>
          </p:cNvSpPr>
          <p:nvPr/>
        </p:nvSpPr>
        <p:spPr bwMode="auto">
          <a:xfrm>
            <a:off x="-25400" y="122238"/>
            <a:ext cx="8656638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90000"/>
              </a:spcBef>
              <a:buClr>
                <a:schemeClr val="bg2"/>
              </a:buClr>
            </a:pPr>
            <a:r>
              <a:rPr lang="en-US" altLang="en-US" b="1"/>
              <a:t>FOLLOW-UP HOSPITAL REGISTER EXAMPLE</a:t>
            </a:r>
          </a:p>
          <a:p>
            <a:pPr eaLnBrk="0" hangingPunct="0">
              <a:lnSpc>
                <a:spcPct val="90000"/>
              </a:lnSpc>
              <a:spcBef>
                <a:spcPct val="90000"/>
              </a:spcBef>
              <a:buClr>
                <a:schemeClr val="bg2"/>
              </a:buClr>
            </a:pPr>
            <a:endParaRPr lang="en-US" altLang="en-US" b="1">
              <a:solidFill>
                <a:srgbClr val="FF0000"/>
              </a:solidFill>
            </a:endParaRPr>
          </a:p>
        </p:txBody>
      </p:sp>
      <p:grpSp>
        <p:nvGrpSpPr>
          <p:cNvPr id="25603" name="Group 5"/>
          <p:cNvGrpSpPr>
            <a:grpSpLocks noChangeAspect="1"/>
          </p:cNvGrpSpPr>
          <p:nvPr/>
        </p:nvGrpSpPr>
        <p:grpSpPr bwMode="auto">
          <a:xfrm>
            <a:off x="0" y="635000"/>
            <a:ext cx="8940800" cy="5334000"/>
            <a:chOff x="0" y="400"/>
            <a:chExt cx="5632" cy="3495"/>
          </a:xfrm>
        </p:grpSpPr>
        <p:sp>
          <p:nvSpPr>
            <p:cNvPr id="25604" name="AutoShape 4"/>
            <p:cNvSpPr>
              <a:spLocks noChangeAspect="1" noChangeArrowheads="1" noTextEdit="1"/>
            </p:cNvSpPr>
            <p:nvPr/>
          </p:nvSpPr>
          <p:spPr bwMode="auto">
            <a:xfrm>
              <a:off x="0" y="400"/>
              <a:ext cx="5632" cy="3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pic>
          <p:nvPicPr>
            <p:cNvPr id="25605" name="Picture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00"/>
              <a:ext cx="5634" cy="3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extBox 1"/>
          <p:cNvSpPr txBox="1"/>
          <p:nvPr/>
        </p:nvSpPr>
        <p:spPr>
          <a:xfrm>
            <a:off x="3987800" y="6350000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4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512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92912" y="233607"/>
            <a:ext cx="8584388" cy="276999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en-ZA" sz="2000" b="1" dirty="0" smtClean="0"/>
              <a:t>Western Cape Birth TARGETS 2016/17 FY </a:t>
            </a:r>
            <a:endParaRPr lang="en-ZA" sz="2000" b="1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318641" y="636121"/>
            <a:ext cx="8457060" cy="5207579"/>
          </a:xfrm>
          <a:prstGeom prst="rect">
            <a:avLst/>
          </a:prstGeom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buClrTx/>
            </a:pPr>
            <a:r>
              <a:rPr lang="en-ZA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uring 2016/2017 </a:t>
            </a:r>
          </a:p>
          <a:p>
            <a:pPr marL="342900" indent="-342900" algn="ctr">
              <a:buClrTx/>
              <a:buFont typeface="Arial" panose="020B0604020202020204" pitchFamily="34" charset="0"/>
              <a:buChar char="•"/>
            </a:pPr>
            <a:r>
              <a:rPr lang="en-ZA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Birth Registration Offices = 39% vs Birth </a:t>
            </a:r>
            <a:r>
              <a:rPr lang="en-ZA" sz="2400" kern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gistration </a:t>
            </a:r>
            <a:r>
              <a:rPr lang="en-ZA" sz="24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alth Facilities = 61%</a:t>
            </a: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342900" indent="-342900">
              <a:buClrTx/>
              <a:buFont typeface="Arial" panose="020B0604020202020204" pitchFamily="34" charset="0"/>
              <a:buChar char="•"/>
            </a:pPr>
            <a:endParaRPr lang="en-ZA" sz="2400" kern="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buClrTx/>
            </a:pPr>
            <a:r>
              <a:rPr lang="en-ZA" sz="1600" kern="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alth Facilities Birth Registration 100 and less </a:t>
            </a:r>
            <a:r>
              <a:rPr lang="en-ZA" sz="1100" b="0" i="1" kern="0" dirty="0" smtClean="0">
                <a:solidFill>
                  <a:schemeClr val="bg1">
                    <a:lumMod val="65000"/>
                  </a:schemeClr>
                </a:solidFill>
              </a:rPr>
              <a:t>(next slide)</a:t>
            </a:r>
            <a:endParaRPr lang="en-ZA" sz="1400" kern="0" dirty="0">
              <a:solidFill>
                <a:srgbClr val="DEAD52"/>
              </a:solidFill>
            </a:endParaRPr>
          </a:p>
        </p:txBody>
      </p:sp>
      <p:pic>
        <p:nvPicPr>
          <p:cNvPr id="3076" name="Picture 4" descr="Related imag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7" t="18482" r="15688" b="18114"/>
          <a:stretch/>
        </p:blipFill>
        <p:spPr bwMode="auto">
          <a:xfrm>
            <a:off x="1643864" y="2556680"/>
            <a:ext cx="1458930" cy="1366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office building 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074" y="2611361"/>
            <a:ext cx="1311781" cy="131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/>
          <a:srcRect l="23843" t="11177" r="23753" b="12462"/>
          <a:stretch/>
        </p:blipFill>
        <p:spPr>
          <a:xfrm>
            <a:off x="3486414" y="4690176"/>
            <a:ext cx="1568514" cy="119992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18843" y="3239912"/>
            <a:ext cx="150687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dirty="0" smtClean="0">
                <a:solidFill>
                  <a:schemeClr val="tx1"/>
                </a:solidFill>
              </a:rPr>
              <a:t>61%</a:t>
            </a:r>
          </a:p>
          <a:p>
            <a:pPr algn="ctr"/>
            <a:r>
              <a:rPr lang="en-ZA" dirty="0" smtClean="0">
                <a:solidFill>
                  <a:schemeClr val="tx1"/>
                </a:solidFill>
              </a:rPr>
              <a:t>Registration</a:t>
            </a: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650689" y="4349116"/>
            <a:ext cx="1263722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dirty="0" smtClean="0">
                <a:solidFill>
                  <a:schemeClr val="tx1"/>
                </a:solidFill>
              </a:rPr>
              <a:t>100% Population</a:t>
            </a:r>
            <a:endParaRPr lang="en-ZA" sz="120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09706" y="3239911"/>
            <a:ext cx="1506877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dirty="0" smtClean="0">
                <a:solidFill>
                  <a:schemeClr val="tx1"/>
                </a:solidFill>
              </a:rPr>
              <a:t>39% Registration</a:t>
            </a:r>
            <a:endParaRPr lang="en-ZA" dirty="0">
              <a:solidFill>
                <a:schemeClr val="tx1"/>
              </a:solidFill>
            </a:endParaRPr>
          </a:p>
        </p:txBody>
      </p:sp>
      <p:cxnSp>
        <p:nvCxnSpPr>
          <p:cNvPr id="6" name="Straight Arrow Connector 5"/>
          <p:cNvCxnSpPr/>
          <p:nvPr/>
        </p:nvCxnSpPr>
        <p:spPr bwMode="auto">
          <a:xfrm flipH="1" flipV="1">
            <a:off x="2630855" y="3941186"/>
            <a:ext cx="937782" cy="949313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Straight Arrow Connector 15"/>
          <p:cNvCxnSpPr/>
          <p:nvPr/>
        </p:nvCxnSpPr>
        <p:spPr bwMode="auto">
          <a:xfrm flipV="1">
            <a:off x="4914411" y="3923142"/>
            <a:ext cx="1025326" cy="868477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3080" name="Picture 8" descr="Image result for certificate icons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8323" y="3167272"/>
            <a:ext cx="748551" cy="748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Straight Arrow Connector 26"/>
          <p:cNvCxnSpPr/>
          <p:nvPr/>
        </p:nvCxnSpPr>
        <p:spPr bwMode="auto">
          <a:xfrm flipH="1" flipV="1">
            <a:off x="4566382" y="3268525"/>
            <a:ext cx="860692" cy="6021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FF6600"/>
            </a:solidFill>
            <a:prstDash val="sysDot"/>
            <a:round/>
            <a:headEnd type="none" w="med" len="med"/>
            <a:tailEnd type="triangle"/>
          </a:ln>
          <a:effectLst/>
        </p:spPr>
      </p:cxnSp>
      <p:cxnSp>
        <p:nvCxnSpPr>
          <p:cNvPr id="30" name="Straight Arrow Connector 29"/>
          <p:cNvCxnSpPr>
            <a:endCxn id="3080" idx="1"/>
          </p:cNvCxnSpPr>
          <p:nvPr/>
        </p:nvCxnSpPr>
        <p:spPr bwMode="auto">
          <a:xfrm flipV="1">
            <a:off x="2951659" y="3541548"/>
            <a:ext cx="886664" cy="12794"/>
          </a:xfrm>
          <a:prstGeom prst="straightConnector1">
            <a:avLst/>
          </a:prstGeom>
          <a:solidFill>
            <a:schemeClr val="bg1"/>
          </a:solidFill>
          <a:ln w="12700" cap="flat" cmpd="sng" algn="ctr">
            <a:solidFill>
              <a:srgbClr val="C00000"/>
            </a:solidFill>
            <a:prstDash val="sysDot"/>
            <a:round/>
            <a:headEnd type="none" w="med" len="med"/>
            <a:tailEnd type="triangle"/>
          </a:ln>
          <a:effectLst/>
        </p:spPr>
      </p:cxnSp>
      <p:sp>
        <p:nvSpPr>
          <p:cNvPr id="39" name="TextBox 38"/>
          <p:cNvSpPr txBox="1"/>
          <p:nvPr/>
        </p:nvSpPr>
        <p:spPr>
          <a:xfrm>
            <a:off x="3367600" y="2639278"/>
            <a:ext cx="1794667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400" dirty="0">
                <a:solidFill>
                  <a:schemeClr val="tx1"/>
                </a:solidFill>
              </a:rPr>
              <a:t>92% Certificates Issued</a:t>
            </a:r>
          </a:p>
        </p:txBody>
      </p:sp>
      <p:cxnSp>
        <p:nvCxnSpPr>
          <p:cNvPr id="40" name="Straight Arrow Connector 39"/>
          <p:cNvCxnSpPr>
            <a:endCxn id="9" idx="0"/>
          </p:cNvCxnSpPr>
          <p:nvPr/>
        </p:nvCxnSpPr>
        <p:spPr bwMode="auto">
          <a:xfrm>
            <a:off x="4276806" y="3940156"/>
            <a:ext cx="5744" cy="40896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48494" y="6491660"/>
            <a:ext cx="2954299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0" dirty="0" smtClean="0">
                <a:solidFill>
                  <a:schemeClr val="tx1"/>
                </a:solidFill>
              </a:rPr>
              <a:t>Note</a:t>
            </a:r>
            <a:r>
              <a:rPr lang="en-ZA" sz="1200" b="0" i="1" dirty="0" smtClean="0">
                <a:solidFill>
                  <a:schemeClr val="tx1"/>
                </a:solidFill>
              </a:rPr>
              <a:t>: 100% Population = Annual Target</a:t>
            </a:r>
            <a:endParaRPr lang="en-ZA" sz="1200" b="0" i="1" dirty="0">
              <a:solidFill>
                <a:schemeClr val="tx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951659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052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195943"/>
            <a:ext cx="8647112" cy="500743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 algn="ctr">
              <a:buNone/>
            </a:pPr>
            <a:r>
              <a:rPr lang="en-ZA" sz="2000" b="1" dirty="0" smtClean="0"/>
              <a:t>Smart </a:t>
            </a:r>
            <a:r>
              <a:rPr lang="en-ZA" sz="2000" b="1" dirty="0"/>
              <a:t>ID Cards issued (received at offices</a:t>
            </a:r>
            <a:r>
              <a:rPr lang="en-ZA" sz="2000" b="1" dirty="0" smtClean="0"/>
              <a:t>): Q1 2017/2018</a:t>
            </a:r>
            <a:endParaRPr lang="en-ZA" sz="2000" b="1" dirty="0">
              <a:solidFill>
                <a:srgbClr val="00B050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ZA" sz="1200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46063" y="1087949"/>
            <a:ext cx="8647112" cy="4722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ZA" sz="1600" b="1" dirty="0" smtClean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ZA" sz="1600" b="1" dirty="0" smtClean="0">
              <a:solidFill>
                <a:prstClr val="black"/>
              </a:solidFill>
            </a:endParaRPr>
          </a:p>
          <a:p>
            <a:pPr marL="0" indent="0" algn="ctr">
              <a:buFont typeface="Arial"/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 marL="0" indent="0" algn="ctr">
              <a:buFont typeface="Arial"/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ZA" sz="1200" b="1" dirty="0">
              <a:solidFill>
                <a:prstClr val="black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7436018"/>
              </p:ext>
            </p:extLst>
          </p:nvPr>
        </p:nvGraphicFramePr>
        <p:xfrm>
          <a:off x="313533" y="4123912"/>
          <a:ext cx="8647110" cy="1706983"/>
        </p:xfrm>
        <a:graphic>
          <a:graphicData uri="http://schemas.openxmlformats.org/drawingml/2006/table">
            <a:tbl>
              <a:tblPr/>
              <a:tblGrid>
                <a:gridCol w="9256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4984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608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065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6210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5387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76887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304352">
                <a:tc rowSpan="3">
                  <a:txBody>
                    <a:bodyPr/>
                    <a:lstStyle/>
                    <a:p>
                      <a:pPr algn="l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vince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vincial contribution to the APP target                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rget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tual Performance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tual Performance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riance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% 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217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7/18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uarter 1 </a:t>
                      </a:r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6/17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17/18 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ctual Performance 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8952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1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 1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Q1</a:t>
                      </a:r>
                    </a:p>
                  </a:txBody>
                  <a:tcPr marL="6341" marR="6341" marT="6341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069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C</a:t>
                      </a: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effectLst/>
                          <a:latin typeface="Arial"/>
                        </a:rPr>
                        <a:t>3905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effectLst/>
                          <a:latin typeface="Arial"/>
                        </a:rPr>
                        <a:t>1054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3,089</a:t>
                      </a: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effectLst/>
                          <a:latin typeface="Arial"/>
                        </a:rPr>
                        <a:t>77,564</a:t>
                      </a:r>
                      <a:endParaRPr lang="en-ZA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(</a:t>
                      </a:r>
                      <a:r>
                        <a:rPr lang="en-ZA" sz="12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27,875)</a:t>
                      </a:r>
                      <a:endParaRPr lang="en-ZA" sz="1200" b="0" i="0" u="none" strike="noStrike" dirty="0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4.6%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462868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C BANKS</a:t>
                      </a: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1" i="0" u="none" strike="noStrike" dirty="0" smtClean="0">
                          <a:effectLst/>
                          <a:latin typeface="Arial"/>
                        </a:rPr>
                        <a:t>0</a:t>
                      </a:r>
                      <a:endParaRPr lang="en-ZA" sz="1200" b="1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2</a:t>
                      </a: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200" b="0" i="0" u="none" strike="noStrike" dirty="0" smtClean="0">
                          <a:effectLst/>
                          <a:latin typeface="Arial"/>
                        </a:rPr>
                        <a:t>1,041</a:t>
                      </a:r>
                      <a:endParaRPr lang="en-ZA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6341" marR="6341" marT="634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923462" y="3657627"/>
            <a:ext cx="28194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 smtClean="0">
                <a:solidFill>
                  <a:srgbClr val="FF0000"/>
                </a:solidFill>
              </a:rPr>
              <a:t>NOT ACHIEVED Q1 2017/2018  </a:t>
            </a:r>
            <a:endParaRPr lang="en-ZA" sz="1400" b="1" dirty="0">
              <a:solidFill>
                <a:srgbClr val="FF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503488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49</a:t>
            </a:fld>
            <a:endParaRPr lang="en-US" dirty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049778"/>
              </p:ext>
            </p:extLst>
          </p:nvPr>
        </p:nvGraphicFramePr>
        <p:xfrm>
          <a:off x="313533" y="1210218"/>
          <a:ext cx="8587845" cy="1749674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95881"/>
                <a:gridCol w="726681"/>
                <a:gridCol w="630665"/>
                <a:gridCol w="559972"/>
                <a:gridCol w="601450"/>
                <a:gridCol w="700322"/>
                <a:gridCol w="623050"/>
                <a:gridCol w="623050"/>
                <a:gridCol w="623050"/>
                <a:gridCol w="623050"/>
                <a:gridCol w="623050"/>
                <a:gridCol w="726891"/>
                <a:gridCol w="830733"/>
              </a:tblGrid>
              <a:tr h="1077787"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Provinc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525" marR="9525" marT="9526" marB="0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Provincial </a:t>
                      </a:r>
                      <a:r>
                        <a:rPr lang="en-GB" sz="1200" b="1" u="none" strike="noStrike" dirty="0"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contribution to the APP target </a:t>
                      </a:r>
                      <a:r>
                        <a:rPr lang="en-GB" sz="1200" b="1" u="none" strike="noStrike" dirty="0" smtClean="0"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               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9525" marR="9525" marT="9526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1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1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2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2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3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3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T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4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P</a:t>
                      </a: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endParaRPr lang="en-GB" sz="1200" b="1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algn="ctr" fontAlgn="t"/>
                      <a:r>
                        <a:rPr lang="en-GB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Q4</a:t>
                      </a:r>
                      <a:endParaRPr lang="en-GB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nnual</a:t>
                      </a:r>
                      <a:r>
                        <a:rPr lang="en-GB" sz="1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 Performance 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Annual Varianc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Percentage</a:t>
                      </a:r>
                      <a:endParaRPr lang="en-GB" sz="12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25585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WC</a:t>
                      </a:r>
                    </a:p>
                  </a:txBody>
                  <a:tcPr marL="9525" marR="9525" marT="9525" marB="0" anchor="ctr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,96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,16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,089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,83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57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,34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57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7,136 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5,367 </a:t>
                      </a:r>
                    </a:p>
                  </a:txBody>
                  <a:tcPr marL="9525" marR="9525" marT="9525" marB="0" anchor="b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683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444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4523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2627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/>
                        </a:rPr>
                        <a:t>158%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87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WC BANKS</a:t>
                      </a:r>
                    </a:p>
                  </a:txBody>
                  <a:tcPr marL="9525" marR="9525" marT="9525" marB="0" anchor="ctr"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95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57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857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59 </a:t>
                      </a:r>
                    </a:p>
                  </a:txBody>
                  <a:tcPr marL="95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85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9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-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5775238" y="804763"/>
            <a:ext cx="28194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ZA" sz="1400" b="1" dirty="0" smtClean="0">
                <a:solidFill>
                  <a:srgbClr val="00B050"/>
                </a:solidFill>
              </a:rPr>
              <a:t>ACHIEVED 2016/2017 </a:t>
            </a:r>
            <a:endParaRPr lang="en-ZA" sz="14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445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/>
          <p:cNvSpPr/>
          <p:nvPr/>
        </p:nvSpPr>
        <p:spPr>
          <a:xfrm>
            <a:off x="1176694" y="2288766"/>
            <a:ext cx="2561925" cy="139146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sz="1200" b="1" dirty="0" smtClean="0">
                <a:solidFill>
                  <a:schemeClr val="tx1"/>
                </a:solidFill>
              </a:rPr>
              <a:t>(A) Provincial Coordinators Ms</a:t>
            </a:r>
            <a:r>
              <a:rPr lang="en-US" sz="1200" b="1" dirty="0">
                <a:solidFill>
                  <a:schemeClr val="tx1"/>
                </a:solidFill>
              </a:rPr>
              <a:t>. </a:t>
            </a:r>
            <a:r>
              <a:rPr lang="en-US" sz="1200" b="1" dirty="0" smtClean="0">
                <a:solidFill>
                  <a:schemeClr val="tx1"/>
                </a:solidFill>
              </a:rPr>
              <a:t>T </a:t>
            </a:r>
            <a:r>
              <a:rPr lang="en-US" sz="1200" b="1" dirty="0" err="1" smtClean="0">
                <a:solidFill>
                  <a:schemeClr val="tx1"/>
                </a:solidFill>
              </a:rPr>
              <a:t>Ndlovu</a:t>
            </a:r>
            <a:r>
              <a:rPr lang="en-US" sz="1200" b="1" dirty="0" smtClean="0">
                <a:solidFill>
                  <a:schemeClr val="tx1"/>
                </a:solidFill>
              </a:rPr>
              <a:t> &amp; Ms N </a:t>
            </a:r>
            <a:r>
              <a:rPr lang="en-US" sz="1200" b="1" dirty="0" err="1" smtClean="0">
                <a:solidFill>
                  <a:schemeClr val="tx1"/>
                </a:solidFill>
              </a:rPr>
              <a:t>Madolo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22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52425" y="82550"/>
            <a:ext cx="7704138" cy="331788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pPr eaLnBrk="1" hangingPunct="1"/>
            <a:r>
              <a:rPr lang="en-US" sz="2400" dirty="0" smtClean="0"/>
              <a:t>Western Cape Management Team as at end June 2017:  </a:t>
            </a:r>
          </a:p>
        </p:txBody>
      </p:sp>
      <p:graphicFrame>
        <p:nvGraphicFramePr>
          <p:cNvPr id="614403" name="Group 3"/>
          <p:cNvGraphicFramePr>
            <a:graphicFrameLocks noGrp="1"/>
          </p:cNvGraphicFramePr>
          <p:nvPr/>
        </p:nvGraphicFramePr>
        <p:xfrm>
          <a:off x="0" y="3313113"/>
          <a:ext cx="257175" cy="214312"/>
        </p:xfrm>
        <a:graphic>
          <a:graphicData uri="http://schemas.openxmlformats.org/drawingml/2006/table">
            <a:tbl>
              <a:tblPr/>
              <a:tblGrid>
                <a:gridCol w="257175"/>
              </a:tblGrid>
              <a:tr h="2143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  </a:t>
                      </a:r>
                      <a:endParaRPr kumimoji="0" lang="en-US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293" name="Rectangle 9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4" name="Rectangle 10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5" name="Rectangle 11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6" name="Rectangle 12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7" name="Rectangle 13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8" name="Rectangle 14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299" name="Rectangle 15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0" name="Rectangle 16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1" name="Rectangle 17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2" name="Rectangle 18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3" name="Rectangle 19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4" name="Rectangle 20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5" name="Rectangle 21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6" name="Rectangle 22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7" name="Rectangle 23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8" name="Rectangle 24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09" name="Rectangle 25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0" name="Rectangle 26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1" name="Rectangle 27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2" name="Rectangle 28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3" name="Rectangle 29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4" name="Rectangle 30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5" name="Rectangle 31"/>
          <p:cNvSpPr>
            <a:spLocks noChangeArrowheads="1"/>
          </p:cNvSpPr>
          <p:nvPr/>
        </p:nvSpPr>
        <p:spPr bwMode="auto">
          <a:xfrm>
            <a:off x="4960938" y="2687638"/>
            <a:ext cx="22066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/>
          <a:p>
            <a:pPr eaLnBrk="0" hangingPunct="0"/>
            <a:r>
              <a:rPr lang="en-US" sz="800">
                <a:latin typeface="Verdana" pitchFamily="34" charset="0"/>
              </a:rPr>
              <a:t> </a:t>
            </a:r>
            <a:endParaRPr lang="en-US" sz="2400">
              <a:latin typeface="Times New Roman" pitchFamily="18" charset="0"/>
            </a:endParaRPr>
          </a:p>
        </p:txBody>
      </p:sp>
      <p:sp>
        <p:nvSpPr>
          <p:cNvPr id="12316" name="Rectangle 38"/>
          <p:cNvSpPr>
            <a:spLocks noChangeArrowheads="1"/>
          </p:cNvSpPr>
          <p:nvPr/>
        </p:nvSpPr>
        <p:spPr bwMode="auto">
          <a:xfrm>
            <a:off x="82550" y="47148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en-GB" sz="1400"/>
          </a:p>
        </p:txBody>
      </p:sp>
      <p:sp>
        <p:nvSpPr>
          <p:cNvPr id="12317" name="Line 71"/>
          <p:cNvSpPr>
            <a:spLocks noChangeShapeType="1"/>
          </p:cNvSpPr>
          <p:nvPr/>
        </p:nvSpPr>
        <p:spPr bwMode="auto">
          <a:xfrm>
            <a:off x="981074" y="4294188"/>
            <a:ext cx="7294563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7204" name="Text Box 61"/>
          <p:cNvSpPr txBox="1">
            <a:spLocks noChangeArrowheads="1"/>
          </p:cNvSpPr>
          <p:nvPr/>
        </p:nvSpPr>
        <p:spPr bwMode="auto">
          <a:xfrm>
            <a:off x="3487737" y="471487"/>
            <a:ext cx="1693864" cy="161448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1200" b="1" dirty="0" smtClean="0"/>
              <a:t>Provincial Manager: Western Cape</a:t>
            </a:r>
          </a:p>
          <a:p>
            <a:pPr algn="ctr" eaLnBrk="1" hangingPunct="1">
              <a:defRPr/>
            </a:pPr>
            <a:r>
              <a:rPr lang="en-US" sz="1200" b="1" dirty="0" smtClean="0"/>
              <a:t>Mr. Y Simons</a:t>
            </a:r>
          </a:p>
        </p:txBody>
      </p:sp>
      <p:sp>
        <p:nvSpPr>
          <p:cNvPr id="12321" name="Line 73"/>
          <p:cNvSpPr>
            <a:spLocks noChangeShapeType="1"/>
          </p:cNvSpPr>
          <p:nvPr/>
        </p:nvSpPr>
        <p:spPr bwMode="auto">
          <a:xfrm>
            <a:off x="922200" y="4276725"/>
            <a:ext cx="0" cy="26193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2322" name="Line 14"/>
          <p:cNvSpPr>
            <a:spLocks noChangeShapeType="1"/>
          </p:cNvSpPr>
          <p:nvPr/>
        </p:nvSpPr>
        <p:spPr bwMode="auto">
          <a:xfrm>
            <a:off x="4261220" y="3791162"/>
            <a:ext cx="78105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9" name="Rectangle 48"/>
          <p:cNvSpPr/>
          <p:nvPr/>
        </p:nvSpPr>
        <p:spPr>
          <a:xfrm>
            <a:off x="5071294" y="2938189"/>
            <a:ext cx="1342032" cy="1320006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(A) Director: F&amp;S : Ms. A </a:t>
            </a:r>
            <a:r>
              <a:rPr lang="en-US" sz="1200" b="1" dirty="0" err="1">
                <a:solidFill>
                  <a:schemeClr val="tx1"/>
                </a:solidFill>
              </a:rPr>
              <a:t>vd</a:t>
            </a:r>
            <a:r>
              <a:rPr lang="en-US" sz="1200" b="1" dirty="0">
                <a:solidFill>
                  <a:schemeClr val="tx1"/>
                </a:solidFill>
              </a:rPr>
              <a:t> Berg </a:t>
            </a:r>
          </a:p>
        </p:txBody>
      </p:sp>
      <p:sp>
        <p:nvSpPr>
          <p:cNvPr id="12326" name="Line 14"/>
          <p:cNvSpPr>
            <a:spLocks noChangeShapeType="1"/>
          </p:cNvSpPr>
          <p:nvPr/>
        </p:nvSpPr>
        <p:spPr bwMode="auto">
          <a:xfrm flipH="1" flipV="1">
            <a:off x="4241800" y="1362075"/>
            <a:ext cx="0" cy="32448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45" name="Text Box 68"/>
          <p:cNvSpPr txBox="1">
            <a:spLocks noChangeArrowheads="1"/>
          </p:cNvSpPr>
          <p:nvPr/>
        </p:nvSpPr>
        <p:spPr bwMode="auto">
          <a:xfrm>
            <a:off x="179530" y="4606925"/>
            <a:ext cx="1235365" cy="1716088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/>
              <a:t>(A) DMO: Cape Metro </a:t>
            </a:r>
          </a:p>
          <a:p>
            <a:pPr eaLnBrk="1" hangingPunct="1">
              <a:defRPr/>
            </a:pPr>
            <a:r>
              <a:rPr lang="en-US" sz="1200" b="1" dirty="0" smtClean="0"/>
              <a:t>Mr. I Mokgele  </a:t>
            </a:r>
          </a:p>
          <a:p>
            <a:pPr eaLnBrk="1" hangingPunct="1">
              <a:defRPr/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8" name="Text Box 68"/>
          <p:cNvSpPr txBox="1">
            <a:spLocks noChangeArrowheads="1"/>
          </p:cNvSpPr>
          <p:nvPr/>
        </p:nvSpPr>
        <p:spPr bwMode="auto">
          <a:xfrm>
            <a:off x="3320782" y="4606666"/>
            <a:ext cx="1601575" cy="171634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/>
              <a:t>(A) DMO: Cape </a:t>
            </a:r>
            <a:r>
              <a:rPr lang="en-US" sz="1200" b="1" dirty="0" err="1" smtClean="0"/>
              <a:t>Winelands</a:t>
            </a:r>
            <a:r>
              <a:rPr lang="en-US" sz="1200" b="1" dirty="0" smtClean="0"/>
              <a:t>. R Gabriels </a:t>
            </a:r>
          </a:p>
          <a:p>
            <a:pPr eaLnBrk="1" hangingPunct="1">
              <a:defRPr/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47" name="Text Box 68"/>
          <p:cNvSpPr txBox="1">
            <a:spLocks noChangeArrowheads="1"/>
          </p:cNvSpPr>
          <p:nvPr/>
        </p:nvSpPr>
        <p:spPr bwMode="auto">
          <a:xfrm>
            <a:off x="7391400" y="4538663"/>
            <a:ext cx="1562100" cy="171634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/>
              <a:t>DMO: Central Karoo &amp; Eden :</a:t>
            </a:r>
            <a:r>
              <a:rPr lang="en-US" sz="1200" b="1" dirty="0" err="1" smtClean="0"/>
              <a:t>Mr.M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Ngaka</a:t>
            </a:r>
            <a:r>
              <a:rPr lang="en-US" sz="1200" b="1" dirty="0" smtClean="0"/>
              <a:t>  </a:t>
            </a:r>
            <a:endParaRPr lang="en-US" sz="1200" dirty="0" smtClean="0"/>
          </a:p>
        </p:txBody>
      </p:sp>
      <p:sp>
        <p:nvSpPr>
          <p:cNvPr id="12336" name="Line 74"/>
          <p:cNvSpPr>
            <a:spLocks noChangeShapeType="1"/>
          </p:cNvSpPr>
          <p:nvPr/>
        </p:nvSpPr>
        <p:spPr bwMode="auto">
          <a:xfrm>
            <a:off x="8275638" y="4269582"/>
            <a:ext cx="0" cy="2444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12349" name="TextBox 1"/>
          <p:cNvSpPr txBox="1">
            <a:spLocks noChangeArrowheads="1"/>
          </p:cNvSpPr>
          <p:nvPr/>
        </p:nvSpPr>
        <p:spPr bwMode="auto">
          <a:xfrm>
            <a:off x="268288" y="6323013"/>
            <a:ext cx="8489950" cy="33972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b="1" dirty="0"/>
              <a:t>Note:</a:t>
            </a:r>
            <a:r>
              <a:rPr lang="en-US" dirty="0"/>
              <a:t> Funded vacant posts for : DMO Cape Metro and West Coast in process of being filled</a:t>
            </a:r>
          </a:p>
        </p:txBody>
      </p:sp>
      <p:pic>
        <p:nvPicPr>
          <p:cNvPr id="12350" name="Picture 6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9749" y="1065644"/>
            <a:ext cx="1029840" cy="1020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1" name="Picture 6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75" y="5263168"/>
            <a:ext cx="953639" cy="953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2" name="Picture 6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5126" y="3435471"/>
            <a:ext cx="771525" cy="711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3" name="Picture 6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808" y="2833198"/>
            <a:ext cx="800100" cy="764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4" name="Picture 6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30278"/>
          <a:stretch/>
        </p:blipFill>
        <p:spPr bwMode="auto">
          <a:xfrm>
            <a:off x="7641372" y="5242964"/>
            <a:ext cx="977588" cy="1080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55" name="Picture 6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0763" y="5253312"/>
            <a:ext cx="1101612" cy="1046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Straight Connector 2"/>
          <p:cNvCxnSpPr/>
          <p:nvPr/>
        </p:nvCxnSpPr>
        <p:spPr bwMode="auto">
          <a:xfrm flipH="1" flipV="1">
            <a:off x="3775138" y="2531621"/>
            <a:ext cx="469062" cy="1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Text Box 68"/>
          <p:cNvSpPr txBox="1">
            <a:spLocks noChangeArrowheads="1"/>
          </p:cNvSpPr>
          <p:nvPr/>
        </p:nvSpPr>
        <p:spPr bwMode="auto">
          <a:xfrm>
            <a:off x="5406039" y="4606665"/>
            <a:ext cx="1540861" cy="171634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1200" b="1" dirty="0" smtClean="0"/>
              <a:t>(A) DMO: West Coast Mr G </a:t>
            </a:r>
            <a:r>
              <a:rPr lang="en-US" sz="1200" b="1" dirty="0" err="1" smtClean="0"/>
              <a:t>Kotze</a:t>
            </a:r>
            <a:r>
              <a:rPr lang="en-US" sz="1200" b="1" dirty="0" smtClean="0"/>
              <a:t> </a:t>
            </a:r>
          </a:p>
          <a:p>
            <a:pPr eaLnBrk="1" hangingPunct="1">
              <a:defRPr/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6" name="Text Box 68"/>
          <p:cNvSpPr txBox="1">
            <a:spLocks noChangeArrowheads="1"/>
          </p:cNvSpPr>
          <p:nvPr/>
        </p:nvSpPr>
        <p:spPr bwMode="auto">
          <a:xfrm>
            <a:off x="1574801" y="4606666"/>
            <a:ext cx="1373592" cy="1716347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28600" indent="-228600" eaLnBrk="1" hangingPunct="1">
              <a:buAutoNum type="alphaUcParenBoth"/>
              <a:defRPr/>
            </a:pPr>
            <a:r>
              <a:rPr lang="en-US" sz="1200" b="1" dirty="0" smtClean="0"/>
              <a:t>DMO: </a:t>
            </a:r>
          </a:p>
          <a:p>
            <a:pPr eaLnBrk="1" hangingPunct="1">
              <a:defRPr/>
            </a:pPr>
            <a:r>
              <a:rPr lang="en-US" sz="1200" b="1" dirty="0" smtClean="0"/>
              <a:t>Overberg Ms S </a:t>
            </a:r>
            <a:r>
              <a:rPr lang="en-US" sz="1200" b="1" dirty="0" err="1" smtClean="0"/>
              <a:t>Davids</a:t>
            </a:r>
            <a:r>
              <a:rPr lang="en-US" sz="1200" b="1" dirty="0" smtClean="0"/>
              <a:t> </a:t>
            </a:r>
          </a:p>
          <a:p>
            <a:pPr eaLnBrk="1" hangingPunct="1">
              <a:defRPr/>
            </a:pPr>
            <a:endParaRPr lang="en-US" sz="1200" dirty="0" smtClean="0">
              <a:solidFill>
                <a:schemeClr val="bg1"/>
              </a:solidFill>
            </a:endParaRPr>
          </a:p>
        </p:txBody>
      </p:sp>
      <p:sp>
        <p:nvSpPr>
          <p:cNvPr id="57" name="Line 74"/>
          <p:cNvSpPr>
            <a:spLocks noChangeShapeType="1"/>
          </p:cNvSpPr>
          <p:nvPr/>
        </p:nvSpPr>
        <p:spPr bwMode="auto">
          <a:xfrm>
            <a:off x="2261597" y="4329906"/>
            <a:ext cx="0" cy="2444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58" name="Line 74"/>
          <p:cNvSpPr>
            <a:spLocks noChangeShapeType="1"/>
          </p:cNvSpPr>
          <p:nvPr/>
        </p:nvSpPr>
        <p:spPr bwMode="auto">
          <a:xfrm>
            <a:off x="6116830" y="4329907"/>
            <a:ext cx="0" cy="2444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8E8B7-8BD9-9F48-9FB6-4E0DFEDB8449}" type="slidenum">
              <a:rPr lang="en-US" smtClean="0"/>
              <a:t>5</a:t>
            </a:fld>
            <a:endParaRPr lang="en-US"/>
          </a:p>
        </p:txBody>
      </p:sp>
      <p:pic>
        <p:nvPicPr>
          <p:cNvPr id="3074" name="Picture 2" descr="C:\Users\ALLUSE~1.ALL\AppData\Local\Temp\XPgrpwise\Picture1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858" y="5263168"/>
            <a:ext cx="986540" cy="940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ALLUSE~1.ALL\AppData\Local\Temp\XPgrpwise\IMG-20170807-WA0004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889" y="5099385"/>
            <a:ext cx="1092811" cy="1189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Line 14"/>
          <p:cNvSpPr>
            <a:spLocks noChangeShapeType="1"/>
          </p:cNvSpPr>
          <p:nvPr/>
        </p:nvSpPr>
        <p:spPr bwMode="auto">
          <a:xfrm>
            <a:off x="4264024" y="2531621"/>
            <a:ext cx="22891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ZA"/>
          </a:p>
        </p:txBody>
      </p:sp>
      <p:sp>
        <p:nvSpPr>
          <p:cNvPr id="60" name="Rectangle 59"/>
          <p:cNvSpPr/>
          <p:nvPr/>
        </p:nvSpPr>
        <p:spPr>
          <a:xfrm>
            <a:off x="6565726" y="1628763"/>
            <a:ext cx="1490838" cy="1320006"/>
          </a:xfrm>
          <a:prstGeom prst="rect">
            <a:avLst/>
          </a:prstGeom>
          <a:gradFill flip="none" rotWithShape="1">
            <a:gsLst>
              <a:gs pos="0">
                <a:srgbClr val="00B0F0">
                  <a:tint val="66000"/>
                  <a:satMod val="160000"/>
                </a:srgbClr>
              </a:gs>
              <a:gs pos="50000">
                <a:srgbClr val="00B0F0">
                  <a:tint val="44500"/>
                  <a:satMod val="160000"/>
                </a:srgbClr>
              </a:gs>
              <a:gs pos="100000">
                <a:srgbClr val="00B0F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en-US" sz="1200" b="1" dirty="0">
                <a:solidFill>
                  <a:schemeClr val="tx1"/>
                </a:solidFill>
              </a:rPr>
              <a:t>(A) </a:t>
            </a:r>
            <a:r>
              <a:rPr lang="en-US" sz="1200" b="1" dirty="0" smtClean="0">
                <a:solidFill>
                  <a:schemeClr val="tx1"/>
                </a:solidFill>
              </a:rPr>
              <a:t>IMS Coordinator: Mr T </a:t>
            </a:r>
            <a:r>
              <a:rPr lang="en-US" sz="1200" b="1" dirty="0" err="1" smtClean="0">
                <a:solidFill>
                  <a:schemeClr val="tx1"/>
                </a:solidFill>
              </a:rPr>
              <a:t>Xabendlini</a:t>
            </a:r>
            <a:r>
              <a:rPr lang="en-US" sz="1200" b="1" dirty="0" smtClean="0">
                <a:solidFill>
                  <a:schemeClr val="tx1"/>
                </a:solidFill>
              </a:rPr>
              <a:t> </a:t>
            </a:r>
            <a:endParaRPr lang="en-US" sz="1200" b="1" dirty="0">
              <a:solidFill>
                <a:schemeClr val="tx1"/>
              </a:solidFill>
            </a:endParaRPr>
          </a:p>
        </p:txBody>
      </p:sp>
      <p:pic>
        <p:nvPicPr>
          <p:cNvPr id="2050" name="Picture 2" descr="C:\Users\All users.Allusers-PC\AppData\Roaming\Microsoft\Windows Photo Viewer\Windows Photo Viewer Wallpaper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6900" y="2085973"/>
            <a:ext cx="694471" cy="862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All users.Allusers-PC\AppData\Roaming\Microsoft\Windows Photo Viewer\Windows Photo Viewer Wallpaper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524" y="2833199"/>
            <a:ext cx="936213" cy="764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1036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195943"/>
            <a:ext cx="8647112" cy="500743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0" indent="0" algn="ctr">
              <a:buNone/>
            </a:pPr>
            <a:r>
              <a:rPr lang="en-ZA" sz="2000" b="1" dirty="0" smtClean="0"/>
              <a:t>Smart </a:t>
            </a:r>
            <a:r>
              <a:rPr lang="en-ZA" sz="2000" b="1" dirty="0"/>
              <a:t>ID Cards issued (received at offices</a:t>
            </a:r>
            <a:r>
              <a:rPr lang="en-ZA" sz="2000" b="1" dirty="0" smtClean="0"/>
              <a:t>): Q1 </a:t>
            </a:r>
            <a:endParaRPr lang="en-ZA" sz="2000" b="1" dirty="0">
              <a:solidFill>
                <a:srgbClr val="00B050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ZA" sz="1200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246063" y="1087949"/>
            <a:ext cx="8647112" cy="4722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ZA" sz="1600" b="1" dirty="0" smtClean="0">
              <a:solidFill>
                <a:prstClr val="black"/>
              </a:solidFill>
            </a:endParaRPr>
          </a:p>
          <a:p>
            <a:pPr marL="0" indent="0">
              <a:buNone/>
            </a:pPr>
            <a:endParaRPr lang="en-ZA" sz="1600" b="1" dirty="0" smtClean="0">
              <a:solidFill>
                <a:prstClr val="black"/>
              </a:solidFill>
            </a:endParaRPr>
          </a:p>
          <a:p>
            <a:pPr marL="0" indent="0" algn="ctr">
              <a:buFont typeface="Arial"/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 marL="0" indent="0" algn="ctr">
              <a:buFont typeface="Arial"/>
              <a:buNone/>
            </a:pPr>
            <a:endParaRPr lang="en-ZA" sz="2400" b="1" dirty="0" smtClean="0">
              <a:solidFill>
                <a:srgbClr val="00B050"/>
              </a:solidFill>
            </a:endParaRPr>
          </a:p>
          <a:p>
            <a:pPr>
              <a:buFont typeface="Wingdings" pitchFamily="2" charset="2"/>
              <a:buChar char="ü"/>
            </a:pPr>
            <a:endParaRPr lang="en-ZA" sz="1200" b="1" dirty="0">
              <a:solidFill>
                <a:prstClr val="black"/>
              </a:solidFill>
            </a:endParaRPr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178594" y="1087949"/>
            <a:ext cx="8782050" cy="353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2857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lvl="1" indent="0">
              <a:defRPr/>
            </a:pPr>
            <a:r>
              <a:rPr lang="en-US" b="1" u="sng" dirty="0" smtClean="0"/>
              <a:t>Strategy implemented to achieve: </a:t>
            </a:r>
          </a:p>
          <a:p>
            <a:pPr marL="0" lvl="1" indent="0">
              <a:defRPr/>
            </a:pPr>
            <a:endParaRPr lang="en-US" b="1" u="sng" dirty="0" smtClean="0"/>
          </a:p>
          <a:p>
            <a:pPr lvl="1">
              <a:buFont typeface="Arial" charset="0"/>
              <a:buChar char="•"/>
              <a:defRPr/>
            </a:pPr>
            <a:r>
              <a:rPr lang="en-US" dirty="0" smtClean="0"/>
              <a:t>Provincial ID smart Card Champion mandated to closely monitor progress,</a:t>
            </a:r>
          </a:p>
          <a:p>
            <a:pPr marL="0" lvl="1" indent="0">
              <a:defRPr/>
            </a:pPr>
            <a:endParaRPr lang="en-US" dirty="0" smtClean="0"/>
          </a:p>
          <a:p>
            <a:pPr lvl="1">
              <a:buFont typeface="Arial" charset="0"/>
              <a:buChar char="•"/>
              <a:defRPr/>
            </a:pPr>
            <a:r>
              <a:rPr lang="en-US" dirty="0" smtClean="0"/>
              <a:t>Resources (peripherals and computers) re-allocated from smaller offices to larger </a:t>
            </a:r>
            <a:r>
              <a:rPr lang="en-US" dirty="0" err="1" smtClean="0"/>
              <a:t>Centres</a:t>
            </a:r>
            <a:r>
              <a:rPr lang="en-US" dirty="0" smtClean="0"/>
              <a:t>,</a:t>
            </a:r>
          </a:p>
          <a:p>
            <a:pPr marL="0" lvl="1" indent="0">
              <a:defRPr/>
            </a:pPr>
            <a:r>
              <a:rPr lang="en-US" dirty="0" smtClean="0"/>
              <a:t> </a:t>
            </a:r>
          </a:p>
          <a:p>
            <a:pPr lvl="1">
              <a:buFont typeface="Arial" charset="0"/>
              <a:buChar char="•"/>
              <a:defRPr/>
            </a:pPr>
            <a:r>
              <a:rPr lang="en-US" dirty="0" smtClean="0"/>
              <a:t>DMOs required to report on targets and strategies to achieve during Extended Management Meetings, </a:t>
            </a:r>
          </a:p>
          <a:p>
            <a:pPr marL="0" lvl="1" indent="0">
              <a:defRPr/>
            </a:pPr>
            <a:endParaRPr lang="en-US" dirty="0" smtClean="0"/>
          </a:p>
          <a:p>
            <a:pPr lvl="1">
              <a:buFont typeface="Arial" charset="0"/>
              <a:buChar char="•"/>
              <a:defRPr/>
            </a:pPr>
            <a:r>
              <a:rPr lang="en-US" dirty="0" smtClean="0"/>
              <a:t>Activation of  </a:t>
            </a:r>
            <a:r>
              <a:rPr lang="en-US" dirty="0" err="1" smtClean="0"/>
              <a:t>Grabouw</a:t>
            </a:r>
            <a:r>
              <a:rPr lang="en-US" dirty="0" smtClean="0"/>
              <a:t> and Stellenbosch Office during Q2 and Q3 of 2017/2018,</a:t>
            </a:r>
          </a:p>
          <a:p>
            <a:pPr marL="0" lvl="1" indent="0">
              <a:defRPr/>
            </a:pPr>
            <a:endParaRPr lang="en-US" dirty="0" smtClean="0"/>
          </a:p>
          <a:p>
            <a:pPr lvl="1">
              <a:buFont typeface="Arial" charset="0"/>
              <a:buChar char="•"/>
              <a:defRPr/>
            </a:pPr>
            <a:r>
              <a:rPr lang="en-US" dirty="0" smtClean="0"/>
              <a:t>Revisited and revised front office process flow to achieve optimum performance at high volume offices,</a:t>
            </a:r>
          </a:p>
          <a:p>
            <a:pPr marL="0" lvl="1" indent="0">
              <a:defRPr/>
            </a:pPr>
            <a:endParaRPr lang="en-US" dirty="0" smtClean="0"/>
          </a:p>
          <a:p>
            <a:pPr lvl="1">
              <a:buFont typeface="Arial" charset="0"/>
              <a:buChar char="•"/>
              <a:defRPr/>
            </a:pPr>
            <a:r>
              <a:rPr lang="en-US" dirty="0" smtClean="0"/>
              <a:t>55 x learners (recruited through the recruitment company EOH) deployed to high volume offices within the Metro to do floor walking</a:t>
            </a:r>
          </a:p>
          <a:p>
            <a:pPr lvl="1">
              <a:buFont typeface="Arial" charset="0"/>
              <a:buChar char="•"/>
              <a:defRPr/>
            </a:pPr>
            <a:endParaRPr lang="en-US" dirty="0" smtClean="0"/>
          </a:p>
          <a:p>
            <a:pPr>
              <a:defRPr/>
            </a:pP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503488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5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3504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1"/>
          <p:cNvSpPr txBox="1">
            <a:spLocks noChangeArrowheads="1"/>
          </p:cNvSpPr>
          <p:nvPr/>
        </p:nvSpPr>
        <p:spPr bwMode="auto">
          <a:xfrm>
            <a:off x="361950" y="2133600"/>
            <a:ext cx="82661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 eaLnBrk="1" hangingPunct="1">
              <a:spcBef>
                <a:spcPct val="50000"/>
              </a:spcBef>
              <a:buClr>
                <a:schemeClr val="bg2"/>
              </a:buClr>
            </a:pPr>
            <a:endParaRPr lang="en-US" sz="2800"/>
          </a:p>
        </p:txBody>
      </p:sp>
      <p:sp>
        <p:nvSpPr>
          <p:cNvPr id="7171" name="TextBox 5"/>
          <p:cNvSpPr txBox="1">
            <a:spLocks noChangeArrowheads="1"/>
          </p:cNvSpPr>
          <p:nvPr/>
        </p:nvSpPr>
        <p:spPr bwMode="auto">
          <a:xfrm>
            <a:off x="327024" y="576263"/>
            <a:ext cx="8335963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2857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lvl="1" indent="0">
              <a:defRPr/>
            </a:pPr>
            <a:endParaRPr lang="en-US" sz="1600" dirty="0" smtClean="0"/>
          </a:p>
          <a:p>
            <a:pPr lvl="1">
              <a:buFont typeface="Arial" charset="0"/>
              <a:buChar char="•"/>
              <a:defRPr/>
            </a:pPr>
            <a:r>
              <a:rPr lang="en-US" dirty="0" smtClean="0"/>
              <a:t>Inputs submitted </a:t>
            </a:r>
            <a:r>
              <a:rPr lang="en-US" dirty="0" err="1" smtClean="0"/>
              <a:t>i.r.o</a:t>
            </a:r>
            <a:r>
              <a:rPr lang="en-US" dirty="0" smtClean="0"/>
              <a:t>. additional resource needs to achieve the 2017/2018 target</a:t>
            </a:r>
          </a:p>
          <a:p>
            <a:pPr lvl="1" algn="just">
              <a:buFont typeface="Arial" charset="0"/>
              <a:buChar char="•"/>
              <a:defRPr/>
            </a:pPr>
            <a:r>
              <a:rPr lang="en-US" dirty="0" smtClean="0"/>
              <a:t>Province was advised on 30 June 2017 that procurement process was concluded,</a:t>
            </a:r>
          </a:p>
          <a:p>
            <a:pPr lvl="1" algn="just">
              <a:buFont typeface="Arial" charset="0"/>
              <a:buChar char="•"/>
              <a:defRPr/>
            </a:pPr>
            <a:r>
              <a:rPr lang="en-US" dirty="0" smtClean="0"/>
              <a:t>Equipment awaited. </a:t>
            </a:r>
          </a:p>
          <a:p>
            <a:pPr lvl="1" algn="just">
              <a:buFont typeface="Arial" charset="0"/>
              <a:buChar char="•"/>
              <a:defRPr/>
            </a:pPr>
            <a:r>
              <a:rPr lang="en-US" dirty="0" smtClean="0"/>
              <a:t>Possible review of targets – due to impact of working hour negotiations (Saturdays) </a:t>
            </a:r>
          </a:p>
          <a:p>
            <a:pPr marL="0" lvl="1" indent="0">
              <a:defRPr/>
            </a:pPr>
            <a:r>
              <a:rPr lang="en-US" dirty="0" smtClean="0"/>
              <a:t> </a:t>
            </a:r>
          </a:p>
          <a:p>
            <a:pPr marL="0" lvl="1" indent="0">
              <a:defRPr/>
            </a:pPr>
            <a:r>
              <a:rPr lang="en-US" dirty="0" smtClean="0"/>
              <a:t>  (NB: without these resources the WC will not  be able to achieve the target)</a:t>
            </a:r>
          </a:p>
          <a:p>
            <a:pPr>
              <a:defRPr/>
            </a:pPr>
            <a:endParaRPr lang="en-US" dirty="0" smtClean="0"/>
          </a:p>
        </p:txBody>
      </p:sp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300038" y="79375"/>
            <a:ext cx="7929562" cy="338138"/>
          </a:xfrm>
          <a:prstGeom prst="rect">
            <a:avLst/>
          </a:prstGeom>
          <a:ln/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ZA" sz="1600" b="1" dirty="0">
                <a:solidFill>
                  <a:srgbClr val="000000"/>
                </a:solidFill>
              </a:rPr>
              <a:t>SMART ID CARD </a:t>
            </a:r>
            <a:r>
              <a:rPr lang="en-ZA" sz="1600" b="1" dirty="0" smtClean="0">
                <a:solidFill>
                  <a:srgbClr val="000000"/>
                </a:solidFill>
              </a:rPr>
              <a:t>APPLICATIONS CONTINUED </a:t>
            </a:r>
            <a:endParaRPr lang="en-ZA" sz="160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8724022"/>
              </p:ext>
            </p:extLst>
          </p:nvPr>
        </p:nvGraphicFramePr>
        <p:xfrm>
          <a:off x="534988" y="2092325"/>
          <a:ext cx="7694612" cy="348170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22875"/>
                <a:gridCol w="4608615"/>
                <a:gridCol w="2263122"/>
              </a:tblGrid>
              <a:tr h="35038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Additional PC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Wynber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Bellvill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Malmesbur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itchells Plai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Worcester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Nyanga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err="1">
                          <a:effectLst/>
                        </a:rPr>
                        <a:t>Khayelitsha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25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Paarl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ape Town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Somerset West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>
                          <a:effectLst/>
                        </a:rPr>
                        <a:t>4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Ceres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Mosselbay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George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2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422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60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89" marR="8089" marT="8087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3428205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725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ChangeArrowheads="1"/>
          </p:cNvSpPr>
          <p:nvPr/>
        </p:nvSpPr>
        <p:spPr bwMode="auto">
          <a:xfrm>
            <a:off x="223838" y="96838"/>
            <a:ext cx="8432800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90000"/>
              </a:spcBef>
              <a:buClr>
                <a:schemeClr val="bg2"/>
              </a:buClr>
            </a:pPr>
            <a:r>
              <a:rPr lang="en-US" altLang="en-US" b="1" dirty="0" smtClean="0"/>
              <a:t>LATE REGISTRATION OF BIRTHS : CHALLENGES </a:t>
            </a:r>
            <a:r>
              <a:rPr lang="en-US" altLang="en-US" b="1" dirty="0"/>
              <a:t>AND INTERVENTIONS</a:t>
            </a:r>
            <a:endParaRPr lang="en-US" altLang="en-US" b="1" dirty="0">
              <a:solidFill>
                <a:srgbClr val="FF0000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855242"/>
              </p:ext>
            </p:extLst>
          </p:nvPr>
        </p:nvGraphicFramePr>
        <p:xfrm>
          <a:off x="223838" y="584201"/>
          <a:ext cx="8785224" cy="48341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92612"/>
                <a:gridCol w="4392612"/>
              </a:tblGrid>
              <a:tr h="343571">
                <a:tc>
                  <a:txBody>
                    <a:bodyPr/>
                    <a:lstStyle/>
                    <a:p>
                      <a:endParaRPr lang="en-Z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</a:rPr>
                        <a:t>Challenges</a:t>
                      </a:r>
                      <a:endParaRPr lang="en-ZA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ZA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ZA" sz="1400" dirty="0" smtClean="0">
                          <a:solidFill>
                            <a:schemeClr val="tx1"/>
                          </a:solidFill>
                        </a:rPr>
                        <a:t>Interventions</a:t>
                      </a:r>
                    </a:p>
                    <a:p>
                      <a:endParaRPr lang="en-ZA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37" marR="91437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745828">
                <a:tc>
                  <a:txBody>
                    <a:bodyPr/>
                    <a:lstStyle/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Rural/farming service areas (no transport system for communities)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None/>
                      </a:pPr>
                      <a:endParaRPr lang="en-US" altLang="en-US" sz="1400" dirty="0" smtClean="0">
                        <a:solidFill>
                          <a:srgbClr val="000000"/>
                        </a:solidFill>
                      </a:endParaRP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Poverty stricken service areas (i.e. communities not able to travel or pay R140)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None/>
                      </a:pPr>
                      <a:endParaRPr lang="en-US" altLang="en-US" sz="1400" dirty="0" smtClean="0">
                        <a:solidFill>
                          <a:srgbClr val="000000"/>
                        </a:solidFill>
                      </a:endParaRP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High illiteracy levels (i.e. citizens don’t know their ID numbers) 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None/>
                      </a:pPr>
                      <a:endParaRPr lang="en-US" altLang="en-US" sz="1400" dirty="0" smtClean="0">
                        <a:solidFill>
                          <a:srgbClr val="000000"/>
                        </a:solidFill>
                      </a:endParaRP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Migration of people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None/>
                      </a:pPr>
                      <a:endParaRPr lang="en-US" altLang="en-US" sz="1400" dirty="0" smtClean="0">
                        <a:solidFill>
                          <a:srgbClr val="000000"/>
                        </a:solidFill>
                      </a:endParaRP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Smart Id Card is</a:t>
                      </a:r>
                      <a:r>
                        <a:rPr lang="en-US" altLang="en-US" sz="1400" baseline="0" dirty="0" smtClean="0">
                          <a:solidFill>
                            <a:srgbClr val="000000"/>
                          </a:solidFill>
                        </a:rPr>
                        <a:t> still voluntary</a:t>
                      </a: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ZA" sz="1400" dirty="0" smtClean="0"/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ZA" sz="140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ZA" sz="140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ZA" sz="1400" dirty="0"/>
                    </a:p>
                  </a:txBody>
                  <a:tcPr marL="91437" marR="91437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Schools informed to encourage learners to apply for ID Smart card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None/>
                      </a:pPr>
                      <a:endParaRPr lang="en-US" altLang="en-US" sz="1400" dirty="0" smtClean="0">
                        <a:solidFill>
                          <a:srgbClr val="000000"/>
                        </a:solidFill>
                      </a:endParaRP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Stakeholder platforms used to encourage communities to apply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None/>
                      </a:pPr>
                      <a:endParaRPr lang="en-US" altLang="en-US" sz="1400" dirty="0" smtClean="0">
                        <a:solidFill>
                          <a:srgbClr val="000000"/>
                        </a:solidFill>
                      </a:endParaRP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Applicants at </a:t>
                      </a:r>
                      <a:r>
                        <a:rPr lang="en-US" altLang="en-US" sz="1400" dirty="0" err="1" smtClean="0">
                          <a:solidFill>
                            <a:srgbClr val="000000"/>
                          </a:solidFill>
                        </a:rPr>
                        <a:t>Thusong</a:t>
                      </a: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 mobile outreaches transported by provincial Department of Local Government</a:t>
                      </a:r>
                      <a:r>
                        <a:rPr lang="en-US" altLang="en-US" sz="1400" baseline="0" dirty="0" smtClean="0">
                          <a:solidFill>
                            <a:srgbClr val="000000"/>
                          </a:solidFill>
                        </a:rPr>
                        <a:t> &amp; Housing </a:t>
                      </a: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to smartcard offices to apply </a:t>
                      </a: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None/>
                      </a:pPr>
                      <a:endParaRPr lang="en-US" altLang="en-US" sz="1400" dirty="0" smtClean="0">
                        <a:solidFill>
                          <a:srgbClr val="000000"/>
                        </a:solidFill>
                      </a:endParaRPr>
                    </a:p>
                    <a:p>
                      <a:pPr eaLnBrk="1" hangingPunct="1">
                        <a:lnSpc>
                          <a:spcPct val="90000"/>
                        </a:lnSpc>
                        <a:spcBef>
                          <a:spcPct val="50000"/>
                        </a:spcBef>
                        <a:buClr>
                          <a:srgbClr val="7D0900"/>
                        </a:buClr>
                        <a:buFont typeface="Wingdings" pitchFamily="2" charset="2"/>
                        <a:buChar char="§"/>
                      </a:pPr>
                      <a:r>
                        <a:rPr lang="en-US" altLang="en-US" sz="1400" dirty="0" smtClean="0">
                          <a:solidFill>
                            <a:srgbClr val="000000"/>
                          </a:solidFill>
                        </a:rPr>
                        <a:t>Local radio station broadcasting for clients to apply and collect their smart ID cards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ZA" sz="140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ZA" sz="140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ZA" sz="1400" dirty="0" smtClean="0"/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ZA" sz="1400" dirty="0" smtClean="0"/>
                    </a:p>
                  </a:txBody>
                  <a:tcPr marL="91437" marR="91437" marT="45733" marB="4573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156364" y="6417425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50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7647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970" y="103869"/>
            <a:ext cx="8229600" cy="670940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/>
          <a:lstStyle/>
          <a:p>
            <a:r>
              <a:rPr lang="en-US" altLang="en-US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00</a:t>
            </a:r>
            <a:r>
              <a:rPr lang="en-US" alt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% of valid </a:t>
            </a:r>
            <a:r>
              <a:rPr lang="en-US" altLang="en-US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voices </a:t>
            </a:r>
            <a:r>
              <a:rPr lang="en-US" altLang="en-US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ettled within 30 days of </a:t>
            </a:r>
            <a:r>
              <a:rPr lang="en-US" altLang="en-US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ertification: Q1 </a:t>
            </a:r>
            <a:endParaRPr lang="en-ZA" dirty="0"/>
          </a:p>
        </p:txBody>
      </p:sp>
      <p:sp>
        <p:nvSpPr>
          <p:cNvPr id="5" name="TextBox 4"/>
          <p:cNvSpPr txBox="1"/>
          <p:nvPr/>
        </p:nvSpPr>
        <p:spPr>
          <a:xfrm>
            <a:off x="6585856" y="2505449"/>
            <a:ext cx="2122714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ZA" b="1" dirty="0" smtClean="0">
                <a:solidFill>
                  <a:srgbClr val="FF0000"/>
                </a:solidFill>
              </a:rPr>
              <a:t>NOT ACHIEVED</a:t>
            </a:r>
            <a:endParaRPr lang="en-ZA" b="1" dirty="0">
              <a:solidFill>
                <a:srgbClr val="FF00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78970" y="3471804"/>
            <a:ext cx="822960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1400" b="1" u="sng" dirty="0" smtClean="0"/>
              <a:t>Reasons for non achievement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ZA" sz="1400" dirty="0" smtClean="0"/>
              <a:t>Budgets captured by </a:t>
            </a:r>
            <a:r>
              <a:rPr lang="en-ZA" sz="1400" dirty="0"/>
              <a:t>the end of April </a:t>
            </a:r>
            <a:r>
              <a:rPr lang="en-ZA" sz="1400" dirty="0" smtClean="0"/>
              <a:t>2017- Standard Chart of Accounts (SCOA V5)  challenging to install on systems,</a:t>
            </a:r>
          </a:p>
          <a:p>
            <a:endParaRPr lang="en-ZA" sz="1400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en-ZA" sz="1400" dirty="0" smtClean="0"/>
              <a:t>4 invoices were captured with incorrect date – corrective action implemented.</a:t>
            </a:r>
          </a:p>
          <a:p>
            <a:pPr marL="285750" indent="-285750">
              <a:buFont typeface="Arial" pitchFamily="34" charset="0"/>
              <a:buChar char="•"/>
            </a:pPr>
            <a:endParaRPr lang="en-ZA" sz="1400" dirty="0"/>
          </a:p>
          <a:p>
            <a:r>
              <a:rPr lang="en-ZA" sz="1400" b="1" u="sng" dirty="0" smtClean="0"/>
              <a:t>Strategy to improve performance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ZA" sz="1400" dirty="0" smtClean="0"/>
              <a:t>Additional capacity appointed (Senior State Accountant) to improve monitoring and control over invoices </a:t>
            </a:r>
          </a:p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908300" y="6334125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53</a:t>
            </a:fld>
            <a:endParaRPr lang="en-US" dirty="0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09986339"/>
              </p:ext>
            </p:extLst>
          </p:nvPr>
        </p:nvGraphicFramePr>
        <p:xfrm>
          <a:off x="478969" y="1463929"/>
          <a:ext cx="8229601" cy="194387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83363"/>
                <a:gridCol w="1296504"/>
                <a:gridCol w="1795549"/>
                <a:gridCol w="1029805"/>
                <a:gridCol w="1143393"/>
                <a:gridCol w="1580987"/>
              </a:tblGrid>
              <a:tr h="61384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Month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No of Invoices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Amount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No of invoices paid within 30 days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Amount of invoices paid within 30 days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</a:rPr>
                        <a:t>No of invoices exceeding 30 days</a:t>
                      </a:r>
                      <a:endParaRPr lang="en-US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Apr-1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>
                          <a:effectLst/>
                        </a:rPr>
                        <a:t> R                605,532.90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4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R 602,863.5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May-1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4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 R                548,655.67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4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R 536,972.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Jun-1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 R                512,972.95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12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R 512,972.9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225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 </a:t>
                      </a:r>
                      <a:r>
                        <a:rPr lang="en-US" sz="1400" u="none" strike="noStrike" dirty="0" smtClean="0">
                          <a:effectLst/>
                        </a:rPr>
                        <a:t>Total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17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</a:rPr>
                        <a:t> R             1,667,161.52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309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>
                          <a:effectLst/>
                        </a:rPr>
                        <a:t>R 1,652,808.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>
                          <a:effectLst/>
                        </a:rPr>
                        <a:t>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363221" y="992781"/>
            <a:ext cx="219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Not achieved = 97% 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11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73507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400" b="1" dirty="0" smtClean="0"/>
              <a:t>Performance previous financial year 2016/2017</a:t>
            </a:r>
            <a:endParaRPr lang="en-US" sz="2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244734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54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3646151"/>
              </p:ext>
            </p:extLst>
          </p:nvPr>
        </p:nvGraphicFramePr>
        <p:xfrm>
          <a:off x="457200" y="1436643"/>
          <a:ext cx="8370917" cy="38502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07118"/>
                <a:gridCol w="1593777"/>
                <a:gridCol w="1435835"/>
                <a:gridCol w="1163026"/>
                <a:gridCol w="1163026"/>
                <a:gridCol w="1608135"/>
              </a:tblGrid>
              <a:tr h="8735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Month</a:t>
                      </a:r>
                      <a:endParaRPr lang="en-US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No of Invoices</a:t>
                      </a:r>
                      <a:endParaRPr lang="en-US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Amount</a:t>
                      </a:r>
                      <a:endParaRPr lang="en-US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No of invoices paid within 30 days</a:t>
                      </a:r>
                      <a:endParaRPr lang="en-US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Amount of invoices paid within 30 days</a:t>
                      </a:r>
                      <a:endParaRPr lang="en-US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No of invoices exceeding 30 days</a:t>
                      </a:r>
                      <a:endParaRPr lang="en-US" sz="1200" b="1" i="1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0660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Apr-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71,550.3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271,550.3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ay-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7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556,581.6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556,581.6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Jun-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650,352.6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9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650,352.6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Jul-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626,169.5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1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626,169.5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Aug-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4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970,641.4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4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970,641.49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Sep-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3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715,355.3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3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715,355.3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Oct-1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422,727.4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7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422,727.48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Nov-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916,412.6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43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916,412.6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Dec-16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11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432,124.8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1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432,124.86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Jan-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2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89,614.7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28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389,614.72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eb-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</a:rPr>
                        <a:t>201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21,130.2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201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221,130.23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177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Mar-17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3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792,061.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34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>
                          <a:effectLst/>
                        </a:rPr>
                        <a:t>792,061.20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0555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TOTALS</a:t>
                      </a:r>
                      <a:endParaRPr lang="en-US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377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6,964,722.16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1377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200" u="none" strike="noStrike" dirty="0">
                          <a:effectLst/>
                        </a:rPr>
                        <a:t>6,964,722.16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>
                          <a:effectLst/>
                        </a:rPr>
                        <a:t>0</a:t>
                      </a: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881149" y="5286895"/>
            <a:ext cx="7764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US" dirty="0" smtClean="0"/>
              <a:t>During the </a:t>
            </a:r>
            <a:r>
              <a:rPr lang="en-US" b="1" dirty="0" smtClean="0"/>
              <a:t>2016/2017</a:t>
            </a:r>
            <a:r>
              <a:rPr lang="en-US" dirty="0" smtClean="0"/>
              <a:t> FY all invoices were paid within 30 days for 12 months.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6363221" y="992781"/>
            <a:ext cx="21920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B050"/>
                </a:solidFill>
              </a:rPr>
              <a:t>Achieved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62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47404" y="2247900"/>
            <a:ext cx="600109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i="1" dirty="0" smtClean="0"/>
              <a:t>Thank you</a:t>
            </a:r>
          </a:p>
          <a:p>
            <a:pPr algn="ctr"/>
            <a:endParaRPr lang="en-US" sz="3200" i="1" dirty="0"/>
          </a:p>
          <a:p>
            <a:pPr algn="ctr"/>
            <a:r>
              <a:rPr lang="en-US" sz="3200" i="1" dirty="0" smtClean="0"/>
              <a:t>Questions &amp; Comments </a:t>
            </a:r>
            <a:endParaRPr lang="en-US" sz="3200" i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3277986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5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090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0282074"/>
              </p:ext>
            </p:extLst>
          </p:nvPr>
        </p:nvGraphicFramePr>
        <p:xfrm>
          <a:off x="398463" y="685801"/>
          <a:ext cx="8583612" cy="4438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62992"/>
                <a:gridCol w="4620620"/>
              </a:tblGrid>
              <a:tr h="39401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Available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 marL="91443" marR="91443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shade val="30000"/>
                            <a:satMod val="115000"/>
                          </a:srgbClr>
                        </a:gs>
                        <a:gs pos="50000">
                          <a:srgbClr val="FFFF00">
                            <a:shade val="67500"/>
                            <a:satMod val="115000"/>
                          </a:srgbClr>
                        </a:gs>
                        <a:gs pos="100000">
                          <a:srgbClr val="FFFF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Comments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43" marR="91443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FF00">
                            <a:shade val="30000"/>
                            <a:satMod val="115000"/>
                          </a:srgbClr>
                        </a:gs>
                        <a:gs pos="50000">
                          <a:srgbClr val="FFFF00">
                            <a:shade val="67500"/>
                            <a:satMod val="115000"/>
                          </a:srgbClr>
                        </a:gs>
                        <a:gs pos="100000">
                          <a:srgbClr val="FFFF00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</a:tcPr>
                </a:tc>
              </a:tr>
              <a:tr h="4044960">
                <a:tc>
                  <a:txBody>
                    <a:bodyPr/>
                    <a:lstStyle/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28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x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 Front Offices within 5 Districts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and 1 Metro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1 x permanent contact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point – Ladysmith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sz="16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27 x  Connected Health Facilities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sz="16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11 x Mobile Offices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sz="16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1 x Bank - Standard Bank Canal Walk</a:t>
                      </a:r>
                    </a:p>
                    <a:p>
                      <a:pPr marL="285750" indent="-285750">
                        <a:buFont typeface="Wingdings" pitchFamily="2" charset="2"/>
                        <a:buChar char="§"/>
                      </a:pPr>
                      <a:endParaRPr lang="en-US" sz="16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1 x Provincial Office (sharing space with Cape Town Large Office)</a:t>
                      </a:r>
                    </a:p>
                    <a:p>
                      <a:pPr marL="0" indent="0">
                        <a:buFont typeface="Wingdings" pitchFamily="2" charset="2"/>
                        <a:buNone/>
                      </a:pPr>
                      <a:endParaRPr lang="en-US" sz="16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Wingdings" pitchFamily="2" charset="2"/>
                        <a:buChar char="§"/>
                      </a:pP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Provincial Archive Facility established at Bellville Office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43" marR="91443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22 x Modernised Front Offices (11 urban, 11 rural) and 1x Bank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79% of our Offices are modernised</a:t>
                      </a: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Stellenbosch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and </a:t>
                      </a:r>
                      <a:r>
                        <a:rPr lang="en-US" sz="1600" baseline="0" dirty="0" err="1" smtClean="0">
                          <a:solidFill>
                            <a:schemeClr val="tx1"/>
                          </a:solidFill>
                        </a:rPr>
                        <a:t>Grabouw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earmarked for modernisation in 2017/2018</a:t>
                      </a: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6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Arial" pitchFamily="34" charset="0"/>
                        <a:buChar char="•"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Out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 of the 23 local municipalities within the WC only 1 is without a DHA facility  (</a:t>
                      </a:r>
                      <a:r>
                        <a:rPr lang="en-US" sz="1600" baseline="0" dirty="0" err="1" smtClean="0">
                          <a:solidFill>
                            <a:schemeClr val="tx1"/>
                          </a:solidFill>
                        </a:rPr>
                        <a:t>Bredevalley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  <a:p>
                      <a:pPr marL="0" indent="0">
                        <a:buFont typeface="Arial" pitchFamily="34" charset="0"/>
                        <a:buNone/>
                      </a:pPr>
                      <a:endParaRPr lang="en-US" sz="16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US" sz="16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43" marR="91443" marT="45709" marB="457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184" name="TextBox 4"/>
          <p:cNvSpPr txBox="1">
            <a:spLocks noChangeArrowheads="1"/>
          </p:cNvSpPr>
          <p:nvPr/>
        </p:nvSpPr>
        <p:spPr bwMode="auto">
          <a:xfrm>
            <a:off x="398463" y="201326"/>
            <a:ext cx="8583612" cy="33855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US" sz="1600" b="1" dirty="0"/>
              <a:t>High level </a:t>
            </a:r>
            <a:r>
              <a:rPr lang="en-US" sz="1600" b="1" dirty="0" smtClean="0"/>
              <a:t>summary: footprint </a:t>
            </a:r>
            <a:r>
              <a:rPr lang="en-US" sz="1600" b="1" dirty="0"/>
              <a:t>and access to client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2870200" y="6173787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0963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56635"/>
          </a:xfr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Highlights Q 1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157327" y="6327890"/>
            <a:ext cx="2133600" cy="365125"/>
          </a:xfrm>
        </p:spPr>
        <p:txBody>
          <a:bodyPr/>
          <a:lstStyle/>
          <a:p>
            <a:fld id="{2538E8B7-8BD9-9F48-9FB6-4E0DFEDB8449}" type="slidenum">
              <a:rPr lang="en-US" smtClean="0"/>
              <a:t>7</a:t>
            </a:fld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57199" y="895977"/>
            <a:ext cx="75338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he new Bellville Office was officially opened by Minister Professor H </a:t>
            </a:r>
            <a:r>
              <a:rPr lang="en-US" b="1" dirty="0" err="1" smtClean="0"/>
              <a:t>Mkhize</a:t>
            </a:r>
            <a:endParaRPr lang="en-US" b="1" dirty="0"/>
          </a:p>
        </p:txBody>
      </p:sp>
      <p:pic>
        <p:nvPicPr>
          <p:cNvPr id="3074" name="Picture 2" descr="C:\Users\ALLUSE~1.ALL\AppData\Local\Temp\XPgrpwise\IMG_20170516_16135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2139" y="1893437"/>
            <a:ext cx="4755967" cy="1921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ALLUSE~1.ALL\AppData\Local\Temp\XPgrpwise\IMG-20170516-WA000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6611" y="3942940"/>
            <a:ext cx="4781495" cy="2007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C:\Users\Home Affairs\Desktop\Bellville Official Opening\Old building photos\PICT351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535" y="3716869"/>
            <a:ext cx="3343814" cy="2233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Home Affairs\Desktop\Bellville Official Opening\Old building photos\PICT350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536" y="1795537"/>
            <a:ext cx="3343813" cy="1843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73291" y="1265309"/>
            <a:ext cx="2286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Before: Boston Centre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4056611" y="1426193"/>
            <a:ext cx="21875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After: ABSA Building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84572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41300" y="152400"/>
            <a:ext cx="8637587" cy="295275"/>
          </a:xfrm>
          <a:solidFill>
            <a:srgbClr val="92D050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90000"/>
          </a:bodyPr>
          <a:lstStyle/>
          <a:p>
            <a:pPr marL="342900" indent="-342900"/>
            <a:r>
              <a:rPr lang="en-US" altLang="en-US" sz="2800" dirty="0" smtClean="0"/>
              <a:t> </a:t>
            </a:r>
            <a:br>
              <a:rPr lang="en-US" altLang="en-US" sz="2800" dirty="0" smtClean="0"/>
            </a:br>
            <a:r>
              <a:rPr lang="en-US" altLang="en-US" sz="2800" dirty="0" smtClean="0"/>
              <a:t/>
            </a:r>
            <a:br>
              <a:rPr lang="en-US" altLang="en-US" sz="2800" dirty="0" smtClean="0"/>
            </a:br>
            <a:r>
              <a:rPr lang="en-US" altLang="en-US" sz="1800" b="1" dirty="0" smtClean="0"/>
              <a:t>Re-alignment </a:t>
            </a:r>
            <a:r>
              <a:rPr lang="en-US" altLang="en-US" sz="1800" b="1" dirty="0"/>
              <a:t>of DMO structure to support service delivery needs </a:t>
            </a:r>
            <a:r>
              <a:rPr lang="en-US" altLang="en-US" sz="1800" b="1" dirty="0" err="1"/>
              <a:t>w.e.f</a:t>
            </a:r>
            <a:r>
              <a:rPr lang="en-US" altLang="en-US" sz="1800" b="1" dirty="0"/>
              <a:t> 2017/04/01   </a:t>
            </a:r>
            <a:r>
              <a:rPr lang="en-US" altLang="en-US" sz="1800" dirty="0"/>
              <a:t/>
            </a:r>
            <a:br>
              <a:rPr lang="en-US" altLang="en-US" sz="1800" dirty="0"/>
            </a:br>
            <a:r>
              <a:rPr lang="en-US" altLang="en-US" sz="2800" dirty="0" smtClean="0"/>
              <a:t/>
            </a:r>
            <a:br>
              <a:rPr lang="en-US" altLang="en-US" sz="2800" dirty="0" smtClean="0"/>
            </a:br>
            <a:endParaRPr lang="en-US" altLang="en-US" sz="2800" dirty="0" smtClean="0"/>
          </a:p>
        </p:txBody>
      </p:sp>
      <p:sp>
        <p:nvSpPr>
          <p:cNvPr id="15363" name="Rectangle 1"/>
          <p:cNvSpPr>
            <a:spLocks noChangeArrowheads="1"/>
          </p:cNvSpPr>
          <p:nvPr/>
        </p:nvSpPr>
        <p:spPr bwMode="auto">
          <a:xfrm>
            <a:off x="119063" y="536575"/>
            <a:ext cx="8882062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  <a:p>
            <a:pPr algn="just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2506428"/>
              </p:ext>
            </p:extLst>
          </p:nvPr>
        </p:nvGraphicFramePr>
        <p:xfrm>
          <a:off x="304801" y="609601"/>
          <a:ext cx="8280399" cy="34136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52799"/>
                <a:gridCol w="1600200"/>
                <a:gridCol w="1585537"/>
                <a:gridCol w="1741863"/>
              </a:tblGrid>
              <a:tr h="76199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strict/ Area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etails of DMO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osition held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opulation 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Metro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 dirty="0" err="1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r</a:t>
                      </a:r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I </a:t>
                      </a:r>
                      <a:r>
                        <a:rPr lang="en-US" sz="1400" u="none" strike="noStrike" dirty="0" err="1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okgele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cting DMO 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 740 026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857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29734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e Winelands (inclusive of Somerset West Office)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r R Gabriels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cting DMO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87 490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857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West Coast (Inclusive of TSC Atlantis)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r G Kotze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cting DMO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91 766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857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4800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Overberg</a:t>
                      </a:r>
                    </a:p>
                    <a:p>
                      <a:pPr algn="l" rtl="0" fontAlgn="ctr"/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s S Davids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cting DMO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58 176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857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0562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den &amp; Central Karoo 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r M Ngaka</a:t>
                      </a:r>
                      <a:endParaRPr lang="en-US" sz="1400" b="0" i="0" u="none" strike="noStrike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MO 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50 137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41828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TOTAL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US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* 5 827 595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85725" marT="952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073400" y="631190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2240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74638" y="466725"/>
            <a:ext cx="8637587" cy="371475"/>
          </a:xfrm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0000"/>
          </a:bodyPr>
          <a:lstStyle/>
          <a:p>
            <a:pPr marL="342900" indent="-342900" algn="ctr" eaLnBrk="1" hangingPunct="1"/>
            <a:r>
              <a:rPr lang="en-US" altLang="en-US" sz="1800" b="1" dirty="0" smtClean="0"/>
              <a:t/>
            </a:r>
            <a:br>
              <a:rPr lang="en-US" altLang="en-US" sz="1800" b="1" dirty="0" smtClean="0"/>
            </a:br>
            <a:r>
              <a:rPr lang="en-US" altLang="en-US" sz="1800" b="1" dirty="0"/>
              <a:t/>
            </a:r>
            <a:br>
              <a:rPr lang="en-US" altLang="en-US" sz="1800" b="1" dirty="0"/>
            </a:br>
            <a:r>
              <a:rPr lang="en-US" altLang="en-US" sz="1800" b="1" dirty="0" smtClean="0"/>
              <a:t/>
            </a:r>
            <a:br>
              <a:rPr lang="en-US" altLang="en-US" sz="1800" b="1" dirty="0" smtClean="0"/>
            </a:br>
            <a:r>
              <a:rPr lang="en-US" altLang="en-US" sz="1800" b="1" dirty="0"/>
              <a:t/>
            </a:r>
            <a:br>
              <a:rPr lang="en-US" altLang="en-US" sz="1800" b="1" dirty="0"/>
            </a:br>
            <a:r>
              <a:rPr lang="en-US" altLang="en-US" sz="1800" b="1" dirty="0" smtClean="0">
                <a:solidFill>
                  <a:schemeClr val="tx1"/>
                </a:solidFill>
              </a:rPr>
              <a:t>Re-alignment of DMO structure to support service delivery needs continued   </a:t>
            </a:r>
            <a:br>
              <a:rPr lang="en-US" altLang="en-US" sz="1800" b="1" dirty="0" smtClean="0">
                <a:solidFill>
                  <a:schemeClr val="tx1"/>
                </a:solidFill>
              </a:rPr>
            </a:br>
            <a:r>
              <a:rPr lang="en-US" altLang="en-US" sz="2800" b="1" dirty="0" smtClean="0"/>
              <a:t> </a:t>
            </a:r>
            <a:br>
              <a:rPr lang="en-US" altLang="en-US" sz="2800" b="1" dirty="0" smtClean="0"/>
            </a:br>
            <a:r>
              <a:rPr lang="en-US" altLang="en-US" sz="2800" dirty="0" smtClean="0"/>
              <a:t/>
            </a:r>
            <a:br>
              <a:rPr lang="en-US" altLang="en-US" sz="2800" dirty="0" smtClean="0"/>
            </a:br>
            <a:endParaRPr lang="en-US" altLang="en-US" sz="2800" dirty="0" smtClean="0"/>
          </a:p>
        </p:txBody>
      </p:sp>
      <p:sp>
        <p:nvSpPr>
          <p:cNvPr id="15363" name="Rectangle 1"/>
          <p:cNvSpPr>
            <a:spLocks noChangeArrowheads="1"/>
          </p:cNvSpPr>
          <p:nvPr/>
        </p:nvSpPr>
        <p:spPr bwMode="auto">
          <a:xfrm>
            <a:off x="119063" y="536575"/>
            <a:ext cx="8882062" cy="84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  <a:p>
            <a:pPr algn="just">
              <a:spcBef>
                <a:spcPts val="1950"/>
              </a:spcBef>
              <a:spcAft>
                <a:spcPts val="538"/>
              </a:spcAft>
              <a:buClr>
                <a:srgbClr val="7D0900"/>
              </a:buClr>
              <a:tabLst>
                <a:tab pos="177800" algn="l"/>
                <a:tab pos="444500" algn="l"/>
              </a:tabLst>
            </a:pPr>
            <a:endParaRPr lang="en-ZA" altLang="en-US">
              <a:solidFill>
                <a:srgbClr val="000000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3245182"/>
              </p:ext>
            </p:extLst>
          </p:nvPr>
        </p:nvGraphicFramePr>
        <p:xfrm>
          <a:off x="274638" y="838201"/>
          <a:ext cx="8597900" cy="45620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29537"/>
                <a:gridCol w="688926"/>
                <a:gridCol w="645867"/>
                <a:gridCol w="645869"/>
                <a:gridCol w="1937606"/>
                <a:gridCol w="1205622"/>
                <a:gridCol w="2644473"/>
              </a:tblGrid>
              <a:tr h="1034657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Number of Metro's &amp; Districts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DMOs Filled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Vacant </a:t>
                      </a:r>
                      <a:r>
                        <a:rPr lang="en-US" sz="1400" b="1" u="none" strike="noStrike" dirty="0" smtClean="0">
                          <a:effectLst/>
                        </a:rPr>
                        <a:t>funded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effectLst/>
                        </a:rPr>
                        <a:t>Never funded 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 smtClean="0">
                          <a:effectLst/>
                        </a:rPr>
                        <a:t>Clustered </a:t>
                      </a:r>
                      <a:r>
                        <a:rPr lang="en-US" sz="1400" b="1" u="none" strike="noStrike" dirty="0">
                          <a:effectLst/>
                        </a:rPr>
                        <a:t>Districts and number of offices responsible for: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 smtClean="0">
                          <a:effectLst/>
                          <a:latin typeface="Arial"/>
                        </a:rPr>
                        <a:t>Number</a:t>
                      </a:r>
                      <a:r>
                        <a:rPr lang="en-US" sz="1400" b="1" i="0" u="none" strike="noStrike" baseline="0" dirty="0" smtClean="0">
                          <a:effectLst/>
                          <a:latin typeface="Arial"/>
                        </a:rPr>
                        <a:t> of Offices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 smtClean="0">
                          <a:effectLst/>
                          <a:latin typeface="Arial"/>
                        </a:rPr>
                        <a:t>Number of support staff </a:t>
                      </a:r>
                      <a:endParaRPr lang="en-US" sz="1400" b="1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gradFill flip="none" rotWithShape="1">
                      <a:gsLst>
                        <a:gs pos="0">
                          <a:srgbClr val="FFC000">
                            <a:tint val="66000"/>
                            <a:satMod val="160000"/>
                          </a:srgbClr>
                        </a:gs>
                        <a:gs pos="50000">
                          <a:srgbClr val="FFC000">
                            <a:tint val="44500"/>
                            <a:satMod val="160000"/>
                          </a:srgbClr>
                        </a:gs>
                        <a:gs pos="100000">
                          <a:srgbClr val="FFC000">
                            <a:tint val="23500"/>
                            <a:satMod val="160000"/>
                          </a:srgbClr>
                        </a:gs>
                      </a:gsLst>
                      <a:lin ang="10800000" scaled="1"/>
                      <a:tileRect/>
                    </a:gradFill>
                  </a:tcPr>
                </a:tc>
              </a:tr>
              <a:tr h="654609">
                <a:tc rowSpan="5">
                  <a:txBody>
                    <a:bodyPr/>
                    <a:lstStyle/>
                    <a:p>
                      <a:pPr algn="ctr" fontAlgn="t"/>
                      <a:endParaRPr lang="en-US" sz="1400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u="none" strike="noStrike" dirty="0" smtClean="0">
                          <a:effectLst/>
                        </a:rPr>
                        <a:t>6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t"/>
                      <a:endParaRPr lang="en-US" sz="1400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u="none" strike="noStrike" dirty="0" smtClean="0">
                          <a:effectLst/>
                        </a:rPr>
                        <a:t>1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t"/>
                      <a:endParaRPr lang="en-US" sz="1400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u="none" strike="noStrike" dirty="0" smtClean="0">
                          <a:effectLst/>
                        </a:rPr>
                        <a:t>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ctr" fontAlgn="t"/>
                      <a:endParaRPr lang="en-US" sz="1400" u="none" strike="noStrike" dirty="0" smtClean="0">
                        <a:effectLst/>
                      </a:endParaRPr>
                    </a:p>
                    <a:p>
                      <a:pPr algn="ctr" fontAlgn="t"/>
                      <a:r>
                        <a:rPr lang="en-US" sz="1400" u="none" strike="noStrike" dirty="0" smtClean="0">
                          <a:effectLst/>
                        </a:rPr>
                        <a:t>2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u="none" strike="noStrike" dirty="0" smtClean="0">
                          <a:effectLst/>
                        </a:rPr>
                        <a:t>West </a:t>
                      </a:r>
                      <a:r>
                        <a:rPr lang="en-US" sz="1400" u="none" strike="noStrike" dirty="0">
                          <a:effectLst/>
                        </a:rPr>
                        <a:t>Coast </a:t>
                      </a:r>
                      <a:endParaRPr lang="en-US" sz="1400" u="none" strike="noStrike" dirty="0" smtClean="0">
                        <a:effectLst/>
                      </a:endParaRPr>
                    </a:p>
                    <a:p>
                      <a:pPr marL="0" indent="0" algn="l" fontAlgn="t">
                        <a:buFont typeface="Arial" pitchFamily="34" charset="0"/>
                        <a:buNone/>
                      </a:pPr>
                      <a:r>
                        <a:rPr lang="en-US" sz="1400" u="none" strike="noStrike" dirty="0" smtClean="0">
                          <a:effectLst/>
                        </a:rPr>
                        <a:t>       (ASD </a:t>
                      </a:r>
                      <a:r>
                        <a:rPr lang="en-US" sz="1400" u="none" strike="noStrike" dirty="0">
                          <a:effectLst/>
                        </a:rPr>
                        <a:t>acting as </a:t>
                      </a:r>
                      <a:r>
                        <a:rPr lang="en-US" sz="1400" u="none" strike="noStrike" dirty="0" smtClean="0">
                          <a:effectLst/>
                        </a:rPr>
                        <a:t>DMO)</a:t>
                      </a: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5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1x DITO, </a:t>
                      </a:r>
                    </a:p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1x Acting co- </a:t>
                      </a:r>
                      <a:r>
                        <a:rPr lang="en-US" sz="1400" b="0" i="0" u="none" strike="noStrike" baseline="0" dirty="0" err="1" smtClean="0">
                          <a:effectLst/>
                          <a:latin typeface="Arial"/>
                        </a:rPr>
                        <a:t>ordinator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(L6).</a:t>
                      </a:r>
                    </a:p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715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</a:rPr>
                        <a:t>Eden &amp; Central Karoo </a:t>
                      </a: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7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2x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DITO, </a:t>
                      </a:r>
                    </a:p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1x Secretary,</a:t>
                      </a:r>
                    </a:p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1x Acting Co-</a:t>
                      </a:r>
                      <a:r>
                        <a:rPr lang="en-US" sz="1400" b="0" i="0" u="none" strike="noStrike" baseline="0" dirty="0" err="1" smtClean="0">
                          <a:effectLst/>
                          <a:latin typeface="Arial"/>
                        </a:rPr>
                        <a:t>ordinator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(L7).</a:t>
                      </a:r>
                    </a:p>
                    <a:p>
                      <a:pPr marL="0" indent="0" algn="l" fontAlgn="t">
                        <a:buNone/>
                      </a:pP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5460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</a:rPr>
                        <a:t>Cape </a:t>
                      </a:r>
                      <a:r>
                        <a:rPr lang="en-US" sz="1400" u="none" strike="noStrike" dirty="0" err="1" smtClean="0">
                          <a:effectLst/>
                        </a:rPr>
                        <a:t>Winelands</a:t>
                      </a:r>
                      <a:endParaRPr lang="en-US" sz="1400" u="none" strike="noStrike" dirty="0" smtClean="0">
                        <a:effectLst/>
                      </a:endParaRPr>
                    </a:p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</a:rPr>
                        <a:t>       (DD acting as DMO)</a:t>
                      </a:r>
                    </a:p>
                    <a:p>
                      <a:pPr marL="0" indent="0" algn="l" fontAlgn="t">
                        <a:buNone/>
                      </a:pP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7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1x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DITO, </a:t>
                      </a:r>
                    </a:p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1x Acting Co-</a:t>
                      </a:r>
                      <a:r>
                        <a:rPr lang="en-US" sz="1400" b="0" i="0" u="none" strike="noStrike" baseline="0" dirty="0" err="1" smtClean="0">
                          <a:effectLst/>
                          <a:latin typeface="Arial"/>
                        </a:rPr>
                        <a:t>ordinator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(L7)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87159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</a:rPr>
                        <a:t>Cape Metro </a:t>
                      </a:r>
                    </a:p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u="none" strike="noStrike" dirty="0" smtClean="0">
                          <a:effectLst/>
                        </a:rPr>
                        <a:t>        (DD acting as DMO) </a:t>
                      </a:r>
                    </a:p>
                    <a:p>
                      <a:pPr marL="0" indent="0" algn="l" fontAlgn="t">
                        <a:buNone/>
                      </a:pP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6 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1x DITO, </a:t>
                      </a:r>
                    </a:p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1x Acting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</a:t>
                      </a: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Co-</a:t>
                      </a:r>
                      <a:r>
                        <a:rPr lang="en-US" sz="1400" b="0" i="0" u="none" strike="noStrike" dirty="0" err="1" smtClean="0">
                          <a:effectLst/>
                          <a:latin typeface="Arial"/>
                        </a:rPr>
                        <a:t>ordinator</a:t>
                      </a: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 (L8),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</a:t>
                      </a:r>
                    </a:p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1x Sec (L7).</a:t>
                      </a:r>
                    </a:p>
                    <a:p>
                      <a:pPr marL="0" indent="0" algn="l" fontAlgn="t">
                        <a:buNone/>
                      </a:pP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7495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fontAlgn="t">
                        <a:buFont typeface="Arial" pitchFamily="34" charset="0"/>
                        <a:buChar char="•"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Overberg</a:t>
                      </a:r>
                    </a:p>
                    <a:p>
                      <a:pPr marL="0" indent="0" algn="l" fontAlgn="t">
                        <a:buFont typeface="Arial" pitchFamily="34" charset="0"/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      (DD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acting as DMO)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3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t">
                        <a:buNone/>
                      </a:pPr>
                      <a:r>
                        <a:rPr lang="en-US" sz="1400" b="0" i="0" u="none" strike="noStrike" dirty="0" smtClean="0">
                          <a:effectLst/>
                          <a:latin typeface="Arial"/>
                        </a:rPr>
                        <a:t>1x Acting co-</a:t>
                      </a:r>
                      <a:r>
                        <a:rPr lang="en-US" sz="1400" b="0" i="0" u="none" strike="noStrike" dirty="0" err="1" smtClean="0">
                          <a:effectLst/>
                          <a:latin typeface="Arial"/>
                        </a:rPr>
                        <a:t>ordinator</a:t>
                      </a:r>
                      <a:r>
                        <a:rPr lang="en-US" sz="1400" b="0" i="0" u="none" strike="noStrike" baseline="0" dirty="0" smtClean="0">
                          <a:effectLst/>
                          <a:latin typeface="Arial"/>
                        </a:rPr>
                        <a:t> (L6)</a:t>
                      </a:r>
                      <a:endParaRPr lang="en-US" sz="1400" b="0" i="0" u="none" strike="noStrike" dirty="0">
                        <a:effectLst/>
                        <a:latin typeface="Arial"/>
                      </a:endParaRPr>
                    </a:p>
                  </a:txBody>
                  <a:tcPr marL="3598" marR="3598" marT="35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65113" y="5549900"/>
            <a:ext cx="87360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ecruitment process for 2x DMOs finalized </a:t>
            </a:r>
            <a:endParaRPr lang="en-US" b="1" dirty="0"/>
          </a:p>
        </p:txBody>
      </p:sp>
      <p:sp>
        <p:nvSpPr>
          <p:cNvPr id="3" name="TextBox 2"/>
          <p:cNvSpPr txBox="1"/>
          <p:nvPr/>
        </p:nvSpPr>
        <p:spPr>
          <a:xfrm>
            <a:off x="3581400" y="627380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7243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5852</Words>
  <Application>Microsoft Office PowerPoint</Application>
  <PresentationFormat>On-screen Show (4:3)</PresentationFormat>
  <Paragraphs>2044</Paragraphs>
  <Slides>55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55</vt:i4>
      </vt:variant>
    </vt:vector>
  </HeadingPairs>
  <TitlesOfParts>
    <vt:vector size="56" baseType="lpstr">
      <vt:lpstr>Office Theme</vt:lpstr>
      <vt:lpstr>PowerPoint Presentation</vt:lpstr>
      <vt:lpstr>Content </vt:lpstr>
      <vt:lpstr>Content </vt:lpstr>
      <vt:lpstr>Geographical outlay of Western Cape Province </vt:lpstr>
      <vt:lpstr>Western Cape Management Team as at end June 2017:  </vt:lpstr>
      <vt:lpstr>PowerPoint Presentation</vt:lpstr>
      <vt:lpstr>Highlights Q 1</vt:lpstr>
      <vt:lpstr>   Re-alignment of DMO structure to support service delivery needs w.e.f 2017/04/01     </vt:lpstr>
      <vt:lpstr>    Re-alignment of DMO structure to support service delivery needs continued       </vt:lpstr>
      <vt:lpstr>PowerPoint Presentation</vt:lpstr>
      <vt:lpstr>Burning issues : Facilities </vt:lpstr>
      <vt:lpstr>PowerPoint Presentation</vt:lpstr>
      <vt:lpstr>PowerPoint Presentation</vt:lpstr>
      <vt:lpstr>Number of Health facilities</vt:lpstr>
      <vt:lpstr>Provincial Archive: Bellville Large Office</vt:lpstr>
      <vt:lpstr>High Volume Offices and queue management strategies </vt:lpstr>
      <vt:lpstr>PowerPoint Presentation</vt:lpstr>
      <vt:lpstr>PowerPoint Presentation</vt:lpstr>
      <vt:lpstr>Staff breakdown per office: </vt:lpstr>
      <vt:lpstr>Staff breakdown per office continued  </vt:lpstr>
      <vt:lpstr>Staff breakdown per office continued  </vt:lpstr>
      <vt:lpstr>Progress in achieving equity targets on 3 July 2017 </vt:lpstr>
      <vt:lpstr>Vetting as at Q1</vt:lpstr>
      <vt:lpstr>Employee Wellness Activities: Q1 </vt:lpstr>
      <vt:lpstr>Moetapele / Reward and Recognition</vt:lpstr>
      <vt:lpstr>PowerPoint Presentation</vt:lpstr>
      <vt:lpstr>Employee Engagement </vt:lpstr>
      <vt:lpstr>Counter Corruption &amp; Security Q1  </vt:lpstr>
      <vt:lpstr>PowerPoint Presentation</vt:lpstr>
      <vt:lpstr>Western Cape Budget and expenditure as at end June 2017 </vt:lpstr>
      <vt:lpstr>PowerPoint Presentation</vt:lpstr>
      <vt:lpstr>PowerPoint Presentation</vt:lpstr>
      <vt:lpstr>Stakeholder engagement </vt:lpstr>
      <vt:lpstr>Stakeholder engagement </vt:lpstr>
      <vt:lpstr>Immigration Services: Joint operations DHA led</vt:lpstr>
      <vt:lpstr>Immigration Services: Joint operations DHA led</vt:lpstr>
      <vt:lpstr>Immigration Services: Joint operations DHA led</vt:lpstr>
      <vt:lpstr>Immigration Services Burning issues</vt:lpstr>
      <vt:lpstr>Outreach Programmes Q1 </vt:lpstr>
      <vt:lpstr>Outreach Programmes Q1 Continued  </vt:lpstr>
      <vt:lpstr>Outreach Programmes Q1 Continued  </vt:lpstr>
      <vt:lpstr>Progress in relation to Q1 2017/2018 APP Targe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estern Cape Birth TARGETS 2016/17 FY </vt:lpstr>
      <vt:lpstr>PowerPoint Presentation</vt:lpstr>
      <vt:lpstr>PowerPoint Presentation</vt:lpstr>
      <vt:lpstr>PowerPoint Presentation</vt:lpstr>
      <vt:lpstr>PowerPoint Presentation</vt:lpstr>
      <vt:lpstr>100% of valid invoices settled within 30 days of certification: Q1 </vt:lpstr>
      <vt:lpstr>Performance previous financial year 2016/2017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 users</dc:creator>
  <cp:lastModifiedBy>DHA</cp:lastModifiedBy>
  <cp:revision>7</cp:revision>
  <dcterms:created xsi:type="dcterms:W3CDTF">2017-08-11T11:42:38Z</dcterms:created>
  <dcterms:modified xsi:type="dcterms:W3CDTF">2017-08-11T12:32:09Z</dcterms:modified>
</cp:coreProperties>
</file>